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1" r:id="rId6"/>
    <p:sldMasterId id="2147483721" r:id="rId7"/>
  </p:sldMasterIdLst>
  <p:notesMasterIdLst>
    <p:notesMasterId r:id="rId16"/>
  </p:notesMasterIdLst>
  <p:sldIdLst>
    <p:sldId id="15167" r:id="rId8"/>
    <p:sldId id="15180" r:id="rId9"/>
    <p:sldId id="260" r:id="rId10"/>
    <p:sldId id="15205" r:id="rId11"/>
    <p:sldId id="15194" r:id="rId12"/>
    <p:sldId id="15208" r:id="rId13"/>
    <p:sldId id="15216" r:id="rId14"/>
    <p:sldId id="15215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50CF907-BDBA-57A1-51FB-255F200976EF}" name="Damberg, Rich" initials="DR" userId="S::Damberg.Rich@epa.gov::c02886a5-0810-419e-aa85-6eb410e417d9" providerId="AD"/>
  <p188:author id="{8A0268A1-EC57-702F-83BF-A210922D6739}" name="Anna Benkeser" initials="AB" userId="S::Benkeser.Anna@epa.gov::839380eb-c6da-4132-929f-d72f8c816727" providerId="AD"/>
  <p188:author id="{820200AD-0585-EE1D-8B92-2626245089BF}" name="Alexis St. Juliana" initials="ASJ" userId="S::Alexis_StJuliana@abtassoc.com::f4dc952f-16a5-4fbd-bd94-963be6c572d5" providerId="AD"/>
  <p188:author id="{1C32B9AF-B566-3742-62F7-8EAB774139D8}" name="Ashley, Jackie" initials="AJ" userId="S::Ashley.Jackie@epa.gov::dba38c64-3c05-402b-84bf-3f7e541644d0" providerId="AD"/>
  <p188:author id="{65E143B1-2EA9-A6C8-8FBA-38B4E20DB0EB}" name="Denny, Andrea" initials="DA" userId="S::denny.andrea@epa.gov::66b94637-b66b-41c1-93fa-1019c133ebb5" providerId="AD"/>
  <p188:author id="{F1CCD5B5-1F20-0EB4-54B7-9BD4DE17EDA7}" name="Macedonia, Jennifer" initials="MJ" userId="S::Macedonia.Jennifer@epa.gov::bfcdd392-3248-4918-97b5-96265e2a4e9f" providerId="AD"/>
  <p188:author id="{5A2C63CE-4D45-A901-E949-2FE59D90FFC9}" name="Denny, Andrea" initials="DA" userId="S::Denny.Andrea@epa.gov::66b94637-b66b-41c1-93fa-1019c133ebb5" providerId="AD"/>
  <p188:author id="{187CD7D2-6FBD-F15F-75FC-AF05A5324997}" name="Brachtl, Megan" initials="BM" userId="S::Brachtl.Megan@epa.gov::49fa3809-aad9-4a13-8a4b-d076c78c6e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7DCFE"/>
    <a:srgbClr val="C2DCE7"/>
    <a:srgbClr val="66BDE2"/>
    <a:srgbClr val="0091CF"/>
    <a:srgbClr val="004A68"/>
    <a:srgbClr val="006B99"/>
    <a:srgbClr val="44546A"/>
    <a:srgbClr val="009F5F"/>
    <a:srgbClr val="33B27F"/>
    <a:srgbClr val="66C5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8" d="100"/>
          <a:sy n="58" d="100"/>
        </p:scale>
        <p:origin x="89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nny, Andrea" userId="66b94637-b66b-41c1-93fa-1019c133ebb5" providerId="ADAL" clId="{0E03F0E6-9BB6-4335-9F80-258437F2C0A9}"/>
    <pc:docChg chg="undo custSel addSld delSld modSld sldOrd">
      <pc:chgData name="Denny, Andrea" userId="66b94637-b66b-41c1-93fa-1019c133ebb5" providerId="ADAL" clId="{0E03F0E6-9BB6-4335-9F80-258437F2C0A9}" dt="2023-04-10T14:24:30.482" v="833" actId="122"/>
      <pc:docMkLst>
        <pc:docMk/>
      </pc:docMkLst>
      <pc:sldChg chg="addSp modSp mod">
        <pc:chgData name="Denny, Andrea" userId="66b94637-b66b-41c1-93fa-1019c133ebb5" providerId="ADAL" clId="{0E03F0E6-9BB6-4335-9F80-258437F2C0A9}" dt="2023-04-10T14:24:30.482" v="833" actId="122"/>
        <pc:sldMkLst>
          <pc:docMk/>
          <pc:sldMk cId="3181507671" sldId="260"/>
        </pc:sldMkLst>
        <pc:spChg chg="add mod">
          <ac:chgData name="Denny, Andrea" userId="66b94637-b66b-41c1-93fa-1019c133ebb5" providerId="ADAL" clId="{0E03F0E6-9BB6-4335-9F80-258437F2C0A9}" dt="2023-04-10T14:24:30.482" v="833" actId="122"/>
          <ac:spMkLst>
            <pc:docMk/>
            <pc:sldMk cId="3181507671" sldId="260"/>
            <ac:spMk id="3" creationId="{A16BF99F-51CC-2C8E-E6DE-C662680CC9A4}"/>
          </ac:spMkLst>
        </pc:spChg>
        <pc:spChg chg="mod">
          <ac:chgData name="Denny, Andrea" userId="66b94637-b66b-41c1-93fa-1019c133ebb5" providerId="ADAL" clId="{0E03F0E6-9BB6-4335-9F80-258437F2C0A9}" dt="2023-04-08T21:38:47.192" v="30" actId="6549"/>
          <ac:spMkLst>
            <pc:docMk/>
            <pc:sldMk cId="3181507671" sldId="260"/>
            <ac:spMk id="4" creationId="{21F32DCF-BD27-AA31-8023-8AADDFAD1B65}"/>
          </ac:spMkLst>
        </pc:spChg>
      </pc:sldChg>
      <pc:sldChg chg="del">
        <pc:chgData name="Denny, Andrea" userId="66b94637-b66b-41c1-93fa-1019c133ebb5" providerId="ADAL" clId="{0E03F0E6-9BB6-4335-9F80-258437F2C0A9}" dt="2023-04-08T21:37:16.581" v="16" actId="47"/>
        <pc:sldMkLst>
          <pc:docMk/>
          <pc:sldMk cId="3236529213" sldId="1215"/>
        </pc:sldMkLst>
      </pc:sldChg>
      <pc:sldChg chg="del">
        <pc:chgData name="Denny, Andrea" userId="66b94637-b66b-41c1-93fa-1019c133ebb5" providerId="ADAL" clId="{0E03F0E6-9BB6-4335-9F80-258437F2C0A9}" dt="2023-04-08T21:37:15.817" v="15" actId="47"/>
        <pc:sldMkLst>
          <pc:docMk/>
          <pc:sldMk cId="3328756035" sldId="4740"/>
        </pc:sldMkLst>
      </pc:sldChg>
      <pc:sldChg chg="del">
        <pc:chgData name="Denny, Andrea" userId="66b94637-b66b-41c1-93fa-1019c133ebb5" providerId="ADAL" clId="{0E03F0E6-9BB6-4335-9F80-258437F2C0A9}" dt="2023-04-08T21:38:59.374" v="32" actId="47"/>
        <pc:sldMkLst>
          <pc:docMk/>
          <pc:sldMk cId="962475443" sldId="15161"/>
        </pc:sldMkLst>
      </pc:sldChg>
      <pc:sldChg chg="del">
        <pc:chgData name="Denny, Andrea" userId="66b94637-b66b-41c1-93fa-1019c133ebb5" providerId="ADAL" clId="{0E03F0E6-9BB6-4335-9F80-258437F2C0A9}" dt="2023-04-08T21:37:19.908" v="18" actId="47"/>
        <pc:sldMkLst>
          <pc:docMk/>
          <pc:sldMk cId="2369244422" sldId="15163"/>
        </pc:sldMkLst>
      </pc:sldChg>
      <pc:sldChg chg="del">
        <pc:chgData name="Denny, Andrea" userId="66b94637-b66b-41c1-93fa-1019c133ebb5" providerId="ADAL" clId="{0E03F0E6-9BB6-4335-9F80-258437F2C0A9}" dt="2023-04-08T21:39:45.422" v="49" actId="47"/>
        <pc:sldMkLst>
          <pc:docMk/>
          <pc:sldMk cId="1840954674" sldId="15164"/>
        </pc:sldMkLst>
      </pc:sldChg>
      <pc:sldChg chg="del">
        <pc:chgData name="Denny, Andrea" userId="66b94637-b66b-41c1-93fa-1019c133ebb5" providerId="ADAL" clId="{0E03F0E6-9BB6-4335-9F80-258437F2C0A9}" dt="2023-04-08T21:39:01.747" v="34" actId="47"/>
        <pc:sldMkLst>
          <pc:docMk/>
          <pc:sldMk cId="299059021" sldId="15165"/>
        </pc:sldMkLst>
      </pc:sldChg>
      <pc:sldChg chg="modSp mod">
        <pc:chgData name="Denny, Andrea" userId="66b94637-b66b-41c1-93fa-1019c133ebb5" providerId="ADAL" clId="{0E03F0E6-9BB6-4335-9F80-258437F2C0A9}" dt="2023-04-08T21:38:19.674" v="29" actId="122"/>
        <pc:sldMkLst>
          <pc:docMk/>
          <pc:sldMk cId="3042400830" sldId="15167"/>
        </pc:sldMkLst>
        <pc:spChg chg="mod">
          <ac:chgData name="Denny, Andrea" userId="66b94637-b66b-41c1-93fa-1019c133ebb5" providerId="ADAL" clId="{0E03F0E6-9BB6-4335-9F80-258437F2C0A9}" dt="2023-04-08T21:38:19.674" v="29" actId="122"/>
          <ac:spMkLst>
            <pc:docMk/>
            <pc:sldMk cId="3042400830" sldId="15167"/>
            <ac:spMk id="2" creationId="{1AC99168-8306-2941-BD9B-A9680A4C2420}"/>
          </ac:spMkLst>
        </pc:spChg>
        <pc:spChg chg="mod">
          <ac:chgData name="Denny, Andrea" userId="66b94637-b66b-41c1-93fa-1019c133ebb5" providerId="ADAL" clId="{0E03F0E6-9BB6-4335-9F80-258437F2C0A9}" dt="2023-04-08T21:38:15.456" v="28" actId="27636"/>
          <ac:spMkLst>
            <pc:docMk/>
            <pc:sldMk cId="3042400830" sldId="15167"/>
            <ac:spMk id="6" creationId="{F39B9707-6B8C-425B-828B-A8421F744180}"/>
          </ac:spMkLst>
        </pc:spChg>
      </pc:sldChg>
      <pc:sldChg chg="del">
        <pc:chgData name="Denny, Andrea" userId="66b94637-b66b-41c1-93fa-1019c133ebb5" providerId="ADAL" clId="{0E03F0E6-9BB6-4335-9F80-258437F2C0A9}" dt="2023-04-08T21:37:18.848" v="17" actId="47"/>
        <pc:sldMkLst>
          <pc:docMk/>
          <pc:sldMk cId="2320562185" sldId="15168"/>
        </pc:sldMkLst>
      </pc:sldChg>
      <pc:sldChg chg="del">
        <pc:chgData name="Denny, Andrea" userId="66b94637-b66b-41c1-93fa-1019c133ebb5" providerId="ADAL" clId="{0E03F0E6-9BB6-4335-9F80-258437F2C0A9}" dt="2023-04-08T21:39:51.349" v="52" actId="47"/>
        <pc:sldMkLst>
          <pc:docMk/>
          <pc:sldMk cId="4260215675" sldId="15172"/>
        </pc:sldMkLst>
      </pc:sldChg>
      <pc:sldChg chg="del">
        <pc:chgData name="Denny, Andrea" userId="66b94637-b66b-41c1-93fa-1019c133ebb5" providerId="ADAL" clId="{0E03F0E6-9BB6-4335-9F80-258437F2C0A9}" dt="2023-04-08T21:39:07.954" v="37" actId="47"/>
        <pc:sldMkLst>
          <pc:docMk/>
          <pc:sldMk cId="1130733657" sldId="15177"/>
        </pc:sldMkLst>
      </pc:sldChg>
      <pc:sldChg chg="del">
        <pc:chgData name="Denny, Andrea" userId="66b94637-b66b-41c1-93fa-1019c133ebb5" providerId="ADAL" clId="{0E03F0E6-9BB6-4335-9F80-258437F2C0A9}" dt="2023-04-08T21:37:21.613" v="19" actId="47"/>
        <pc:sldMkLst>
          <pc:docMk/>
          <pc:sldMk cId="3085124596" sldId="15182"/>
        </pc:sldMkLst>
      </pc:sldChg>
      <pc:sldChg chg="del">
        <pc:chgData name="Denny, Andrea" userId="66b94637-b66b-41c1-93fa-1019c133ebb5" providerId="ADAL" clId="{0E03F0E6-9BB6-4335-9F80-258437F2C0A9}" dt="2023-04-08T21:39:42.339" v="46" actId="47"/>
        <pc:sldMkLst>
          <pc:docMk/>
          <pc:sldMk cId="4283721433" sldId="15183"/>
        </pc:sldMkLst>
      </pc:sldChg>
      <pc:sldChg chg="del">
        <pc:chgData name="Denny, Andrea" userId="66b94637-b66b-41c1-93fa-1019c133ebb5" providerId="ADAL" clId="{0E03F0E6-9BB6-4335-9F80-258437F2C0A9}" dt="2023-04-08T21:39:04.079" v="35" actId="47"/>
        <pc:sldMkLst>
          <pc:docMk/>
          <pc:sldMk cId="2218319654" sldId="15186"/>
        </pc:sldMkLst>
      </pc:sldChg>
      <pc:sldChg chg="del">
        <pc:chgData name="Denny, Andrea" userId="66b94637-b66b-41c1-93fa-1019c133ebb5" providerId="ADAL" clId="{0E03F0E6-9BB6-4335-9F80-258437F2C0A9}" dt="2023-04-08T21:39:00.629" v="33" actId="47"/>
        <pc:sldMkLst>
          <pc:docMk/>
          <pc:sldMk cId="3446837600" sldId="15188"/>
        </pc:sldMkLst>
      </pc:sldChg>
      <pc:sldChg chg="del">
        <pc:chgData name="Denny, Andrea" userId="66b94637-b66b-41c1-93fa-1019c133ebb5" providerId="ADAL" clId="{0E03F0E6-9BB6-4335-9F80-258437F2C0A9}" dt="2023-04-08T21:39:20.827" v="39" actId="47"/>
        <pc:sldMkLst>
          <pc:docMk/>
          <pc:sldMk cId="259575273" sldId="15189"/>
        </pc:sldMkLst>
      </pc:sldChg>
      <pc:sldChg chg="del">
        <pc:chgData name="Denny, Andrea" userId="66b94637-b66b-41c1-93fa-1019c133ebb5" providerId="ADAL" clId="{0E03F0E6-9BB6-4335-9F80-258437F2C0A9}" dt="2023-04-08T21:39:40.888" v="44" actId="47"/>
        <pc:sldMkLst>
          <pc:docMk/>
          <pc:sldMk cId="3542251222" sldId="15190"/>
        </pc:sldMkLst>
      </pc:sldChg>
      <pc:sldChg chg="addSp delSp modSp mod">
        <pc:chgData name="Denny, Andrea" userId="66b94637-b66b-41c1-93fa-1019c133ebb5" providerId="ADAL" clId="{0E03F0E6-9BB6-4335-9F80-258437F2C0A9}" dt="2023-04-10T14:21:44.102" v="818" actId="20577"/>
        <pc:sldMkLst>
          <pc:docMk/>
          <pc:sldMk cId="4277389186" sldId="15194"/>
        </pc:sldMkLst>
        <pc:spChg chg="del mod">
          <ac:chgData name="Denny, Andrea" userId="66b94637-b66b-41c1-93fa-1019c133ebb5" providerId="ADAL" clId="{0E03F0E6-9BB6-4335-9F80-258437F2C0A9}" dt="2023-04-08T21:42:47.741" v="65" actId="478"/>
          <ac:spMkLst>
            <pc:docMk/>
            <pc:sldMk cId="4277389186" sldId="15194"/>
            <ac:spMk id="2" creationId="{77BC4C63-A6F4-15E6-D94B-BC405D5154CA}"/>
          </ac:spMkLst>
        </pc:spChg>
        <pc:spChg chg="add mod">
          <ac:chgData name="Denny, Andrea" userId="66b94637-b66b-41c1-93fa-1019c133ebb5" providerId="ADAL" clId="{0E03F0E6-9BB6-4335-9F80-258437F2C0A9}" dt="2023-04-10T13:59:17.985" v="735" actId="27636"/>
          <ac:spMkLst>
            <pc:docMk/>
            <pc:sldMk cId="4277389186" sldId="15194"/>
            <ac:spMk id="3" creationId="{7E04C467-E928-CB86-B9BE-A8E7DAFF3F1D}"/>
          </ac:spMkLst>
        </pc:spChg>
        <pc:spChg chg="add del mod">
          <ac:chgData name="Denny, Andrea" userId="66b94637-b66b-41c1-93fa-1019c133ebb5" providerId="ADAL" clId="{0E03F0E6-9BB6-4335-9F80-258437F2C0A9}" dt="2023-04-08T21:42:31.898" v="61" actId="478"/>
          <ac:spMkLst>
            <pc:docMk/>
            <pc:sldMk cId="4277389186" sldId="15194"/>
            <ac:spMk id="5" creationId="{D2D10C55-C4A2-32A1-C7C8-93ED61D7A752}"/>
          </ac:spMkLst>
        </pc:spChg>
        <pc:spChg chg="add mod">
          <ac:chgData name="Denny, Andrea" userId="66b94637-b66b-41c1-93fa-1019c133ebb5" providerId="ADAL" clId="{0E03F0E6-9BB6-4335-9F80-258437F2C0A9}" dt="2023-04-10T14:21:44.102" v="818" actId="20577"/>
          <ac:spMkLst>
            <pc:docMk/>
            <pc:sldMk cId="4277389186" sldId="15194"/>
            <ac:spMk id="6" creationId="{3F481059-961F-8ACC-F90F-7BCFA20EA32C}"/>
          </ac:spMkLst>
        </pc:spChg>
        <pc:spChg chg="del">
          <ac:chgData name="Denny, Andrea" userId="66b94637-b66b-41c1-93fa-1019c133ebb5" providerId="ADAL" clId="{0E03F0E6-9BB6-4335-9F80-258437F2C0A9}" dt="2023-04-08T21:42:16.629" v="58" actId="478"/>
          <ac:spMkLst>
            <pc:docMk/>
            <pc:sldMk cId="4277389186" sldId="15194"/>
            <ac:spMk id="6" creationId="{D9B7EBAC-E0D4-5348-AEEA-6CBAC28DA5AC}"/>
          </ac:spMkLst>
        </pc:spChg>
        <pc:spChg chg="add mod">
          <ac:chgData name="Denny, Andrea" userId="66b94637-b66b-41c1-93fa-1019c133ebb5" providerId="ADAL" clId="{0E03F0E6-9BB6-4335-9F80-258437F2C0A9}" dt="2023-04-10T14:21:36.555" v="817" actId="1076"/>
          <ac:spMkLst>
            <pc:docMk/>
            <pc:sldMk cId="4277389186" sldId="15194"/>
            <ac:spMk id="7" creationId="{FC5ED840-8EED-0266-5ABF-75A174538818}"/>
          </ac:spMkLst>
        </pc:spChg>
        <pc:spChg chg="add mod">
          <ac:chgData name="Denny, Andrea" userId="66b94637-b66b-41c1-93fa-1019c133ebb5" providerId="ADAL" clId="{0E03F0E6-9BB6-4335-9F80-258437F2C0A9}" dt="2023-04-10T14:21:20.451" v="815" actId="1076"/>
          <ac:spMkLst>
            <pc:docMk/>
            <pc:sldMk cId="4277389186" sldId="15194"/>
            <ac:spMk id="10" creationId="{93A67D6A-1F45-BBE1-7273-07DEB030FC07}"/>
          </ac:spMkLst>
        </pc:spChg>
        <pc:spChg chg="add del mod">
          <ac:chgData name="Denny, Andrea" userId="66b94637-b66b-41c1-93fa-1019c133ebb5" providerId="ADAL" clId="{0E03F0E6-9BB6-4335-9F80-258437F2C0A9}" dt="2023-04-08T21:42:53.346" v="67" actId="478"/>
          <ac:spMkLst>
            <pc:docMk/>
            <pc:sldMk cId="4277389186" sldId="15194"/>
            <ac:spMk id="10" creationId="{F758A48B-1D7E-69F6-1A49-DC61A0745770}"/>
          </ac:spMkLst>
        </pc:spChg>
        <pc:graphicFrameChg chg="add del mod modGraphic">
          <ac:chgData name="Denny, Andrea" userId="66b94637-b66b-41c1-93fa-1019c133ebb5" providerId="ADAL" clId="{0E03F0E6-9BB6-4335-9F80-258437F2C0A9}" dt="2023-04-10T14:14:40.426" v="741" actId="478"/>
          <ac:graphicFrameMkLst>
            <pc:docMk/>
            <pc:sldMk cId="4277389186" sldId="15194"/>
            <ac:graphicFrameMk id="2" creationId="{EDA6D6F3-FC87-D9DA-E35C-0BBB849C72CE}"/>
          </ac:graphicFrameMkLst>
        </pc:graphicFrameChg>
        <pc:graphicFrameChg chg="add mod">
          <ac:chgData name="Denny, Andrea" userId="66b94637-b66b-41c1-93fa-1019c133ebb5" providerId="ADAL" clId="{0E03F0E6-9BB6-4335-9F80-258437F2C0A9}" dt="2023-04-10T14:15:11.552" v="746" actId="14100"/>
          <ac:graphicFrameMkLst>
            <pc:docMk/>
            <pc:sldMk cId="4277389186" sldId="15194"/>
            <ac:graphicFrameMk id="5" creationId="{EDA6D6F3-FC87-D9DA-E35C-0BBB849C72CE}"/>
          </ac:graphicFrameMkLst>
        </pc:graphicFrameChg>
        <pc:graphicFrameChg chg="add mod">
          <ac:chgData name="Denny, Andrea" userId="66b94637-b66b-41c1-93fa-1019c133ebb5" providerId="ADAL" clId="{0E03F0E6-9BB6-4335-9F80-258437F2C0A9}" dt="2023-04-08T21:42:29.384" v="60"/>
          <ac:graphicFrameMkLst>
            <pc:docMk/>
            <pc:sldMk cId="4277389186" sldId="15194"/>
            <ac:graphicFrameMk id="7" creationId="{EDA6D6F3-FC87-D9DA-E35C-0BBB849C72CE}"/>
          </ac:graphicFrameMkLst>
        </pc:graphicFrameChg>
        <pc:picChg chg="add del mod">
          <ac:chgData name="Denny, Andrea" userId="66b94637-b66b-41c1-93fa-1019c133ebb5" providerId="ADAL" clId="{0E03F0E6-9BB6-4335-9F80-258437F2C0A9}" dt="2023-04-10T13:57:33.045" v="682" actId="478"/>
          <ac:picMkLst>
            <pc:docMk/>
            <pc:sldMk cId="4277389186" sldId="15194"/>
            <ac:picMk id="8" creationId="{D5451800-89C8-238B-D107-F3350DFE9390}"/>
          </ac:picMkLst>
        </pc:picChg>
        <pc:picChg chg="add del">
          <ac:chgData name="Denny, Andrea" userId="66b94637-b66b-41c1-93fa-1019c133ebb5" providerId="ADAL" clId="{0E03F0E6-9BB6-4335-9F80-258437F2C0A9}" dt="2023-04-10T14:20:34.863" v="808"/>
          <ac:picMkLst>
            <pc:docMk/>
            <pc:sldMk cId="4277389186" sldId="15194"/>
            <ac:picMk id="9" creationId="{408BB554-D53F-A0D9-C50E-E8CEC071A6BF}"/>
          </ac:picMkLst>
        </pc:picChg>
      </pc:sldChg>
      <pc:sldChg chg="del">
        <pc:chgData name="Denny, Andrea" userId="66b94637-b66b-41c1-93fa-1019c133ebb5" providerId="ADAL" clId="{0E03F0E6-9BB6-4335-9F80-258437F2C0A9}" dt="2023-04-08T21:39:38.655" v="42" actId="47"/>
        <pc:sldMkLst>
          <pc:docMk/>
          <pc:sldMk cId="4029864932" sldId="15197"/>
        </pc:sldMkLst>
      </pc:sldChg>
      <pc:sldChg chg="del">
        <pc:chgData name="Denny, Andrea" userId="66b94637-b66b-41c1-93fa-1019c133ebb5" providerId="ADAL" clId="{0E03F0E6-9BB6-4335-9F80-258437F2C0A9}" dt="2023-04-08T21:39:50.492" v="51" actId="47"/>
        <pc:sldMkLst>
          <pc:docMk/>
          <pc:sldMk cId="4260333038" sldId="15199"/>
        </pc:sldMkLst>
      </pc:sldChg>
      <pc:sldChg chg="del">
        <pc:chgData name="Denny, Andrea" userId="66b94637-b66b-41c1-93fa-1019c133ebb5" providerId="ADAL" clId="{0E03F0E6-9BB6-4335-9F80-258437F2C0A9}" dt="2023-04-08T21:39:12.669" v="38" actId="47"/>
        <pc:sldMkLst>
          <pc:docMk/>
          <pc:sldMk cId="4123674481" sldId="15200"/>
        </pc:sldMkLst>
      </pc:sldChg>
      <pc:sldChg chg="del">
        <pc:chgData name="Denny, Andrea" userId="66b94637-b66b-41c1-93fa-1019c133ebb5" providerId="ADAL" clId="{0E03F0E6-9BB6-4335-9F80-258437F2C0A9}" dt="2023-04-08T21:39:39.591" v="43" actId="47"/>
        <pc:sldMkLst>
          <pc:docMk/>
          <pc:sldMk cId="1412741593" sldId="15202"/>
        </pc:sldMkLst>
      </pc:sldChg>
      <pc:sldChg chg="modSp del mod">
        <pc:chgData name="Denny, Andrea" userId="66b94637-b66b-41c1-93fa-1019c133ebb5" providerId="ADAL" clId="{0E03F0E6-9BB6-4335-9F80-258437F2C0A9}" dt="2023-04-08T22:07:28.328" v="681"/>
        <pc:sldMkLst>
          <pc:docMk/>
          <pc:sldMk cId="3731374315" sldId="15208"/>
        </pc:sldMkLst>
        <pc:spChg chg="mod">
          <ac:chgData name="Denny, Andrea" userId="66b94637-b66b-41c1-93fa-1019c133ebb5" providerId="ADAL" clId="{0E03F0E6-9BB6-4335-9F80-258437F2C0A9}" dt="2023-04-08T22:06:18.649" v="676" actId="207"/>
          <ac:spMkLst>
            <pc:docMk/>
            <pc:sldMk cId="3731374315" sldId="15208"/>
            <ac:spMk id="12" creationId="{42F337B1-424F-A6A5-66F3-A4937267AC8F}"/>
          </ac:spMkLst>
        </pc:spChg>
        <pc:spChg chg="mod">
          <ac:chgData name="Denny, Andrea" userId="66b94637-b66b-41c1-93fa-1019c133ebb5" providerId="ADAL" clId="{0E03F0E6-9BB6-4335-9F80-258437F2C0A9}" dt="2023-04-08T22:06:27.963" v="678" actId="207"/>
          <ac:spMkLst>
            <pc:docMk/>
            <pc:sldMk cId="3731374315" sldId="15208"/>
            <ac:spMk id="13" creationId="{1DB7F67C-97E9-DC60-2616-3899DDAC88EA}"/>
          </ac:spMkLst>
        </pc:spChg>
        <pc:spChg chg="mod">
          <ac:chgData name="Denny, Andrea" userId="66b94637-b66b-41c1-93fa-1019c133ebb5" providerId="ADAL" clId="{0E03F0E6-9BB6-4335-9F80-258437F2C0A9}" dt="2023-04-08T22:06:22.211" v="677" actId="207"/>
          <ac:spMkLst>
            <pc:docMk/>
            <pc:sldMk cId="3731374315" sldId="15208"/>
            <ac:spMk id="27" creationId="{90090F14-8A4B-EE6F-8335-60E6E29C27DB}"/>
          </ac:spMkLst>
        </pc:spChg>
        <pc:spChg chg="mod">
          <ac:chgData name="Denny, Andrea" userId="66b94637-b66b-41c1-93fa-1019c133ebb5" providerId="ADAL" clId="{0E03F0E6-9BB6-4335-9F80-258437F2C0A9}" dt="2023-04-08T22:06:32.463" v="679" actId="207"/>
          <ac:spMkLst>
            <pc:docMk/>
            <pc:sldMk cId="3731374315" sldId="15208"/>
            <ac:spMk id="28" creationId="{3F99414B-B56D-CD08-3429-54CCBE233A0C}"/>
          </ac:spMkLst>
        </pc:spChg>
        <pc:picChg chg="mod">
          <ac:chgData name="Denny, Andrea" userId="66b94637-b66b-41c1-93fa-1019c133ebb5" providerId="ADAL" clId="{0E03F0E6-9BB6-4335-9F80-258437F2C0A9}" dt="2023-04-08T22:07:16.665" v="680"/>
          <ac:picMkLst>
            <pc:docMk/>
            <pc:sldMk cId="3731374315" sldId="15208"/>
            <ac:picMk id="3" creationId="{92C310FB-654E-B834-D05B-8676ED7DB22C}"/>
          </ac:picMkLst>
        </pc:picChg>
        <pc:picChg chg="mod">
          <ac:chgData name="Denny, Andrea" userId="66b94637-b66b-41c1-93fa-1019c133ebb5" providerId="ADAL" clId="{0E03F0E6-9BB6-4335-9F80-258437F2C0A9}" dt="2023-04-08T22:07:28.328" v="681"/>
          <ac:picMkLst>
            <pc:docMk/>
            <pc:sldMk cId="3731374315" sldId="15208"/>
            <ac:picMk id="6" creationId="{A21F3597-716D-7A97-0AEE-797A9C6D6813}"/>
          </ac:picMkLst>
        </pc:picChg>
      </pc:sldChg>
      <pc:sldChg chg="del">
        <pc:chgData name="Denny, Andrea" userId="66b94637-b66b-41c1-93fa-1019c133ebb5" providerId="ADAL" clId="{0E03F0E6-9BB6-4335-9F80-258437F2C0A9}" dt="2023-04-08T21:39:41.540" v="45" actId="47"/>
        <pc:sldMkLst>
          <pc:docMk/>
          <pc:sldMk cId="1183632375" sldId="15209"/>
        </pc:sldMkLst>
      </pc:sldChg>
      <pc:sldChg chg="del">
        <pc:chgData name="Denny, Andrea" userId="66b94637-b66b-41c1-93fa-1019c133ebb5" providerId="ADAL" clId="{0E03F0E6-9BB6-4335-9F80-258437F2C0A9}" dt="2023-04-08T21:39:43.277" v="47" actId="47"/>
        <pc:sldMkLst>
          <pc:docMk/>
          <pc:sldMk cId="2577882605" sldId="15210"/>
        </pc:sldMkLst>
      </pc:sldChg>
      <pc:sldChg chg="del">
        <pc:chgData name="Denny, Andrea" userId="66b94637-b66b-41c1-93fa-1019c133ebb5" providerId="ADAL" clId="{0E03F0E6-9BB6-4335-9F80-258437F2C0A9}" dt="2023-04-08T21:39:44.427" v="48" actId="47"/>
        <pc:sldMkLst>
          <pc:docMk/>
          <pc:sldMk cId="4277411263" sldId="15212"/>
        </pc:sldMkLst>
      </pc:sldChg>
      <pc:sldChg chg="del">
        <pc:chgData name="Denny, Andrea" userId="66b94637-b66b-41c1-93fa-1019c133ebb5" providerId="ADAL" clId="{0E03F0E6-9BB6-4335-9F80-258437F2C0A9}" dt="2023-04-08T21:39:05.297" v="36" actId="47"/>
        <pc:sldMkLst>
          <pc:docMk/>
          <pc:sldMk cId="2985467816" sldId="15213"/>
        </pc:sldMkLst>
      </pc:sldChg>
      <pc:sldChg chg="del">
        <pc:chgData name="Denny, Andrea" userId="66b94637-b66b-41c1-93fa-1019c133ebb5" providerId="ADAL" clId="{0E03F0E6-9BB6-4335-9F80-258437F2C0A9}" dt="2023-04-08T21:53:19.480" v="110" actId="47"/>
        <pc:sldMkLst>
          <pc:docMk/>
          <pc:sldMk cId="602117105" sldId="15214"/>
        </pc:sldMkLst>
      </pc:sldChg>
      <pc:sldChg chg="modSp add mod ord">
        <pc:chgData name="Denny, Andrea" userId="66b94637-b66b-41c1-93fa-1019c133ebb5" providerId="ADAL" clId="{0E03F0E6-9BB6-4335-9F80-258437F2C0A9}" dt="2023-04-08T22:03:06.075" v="673" actId="6549"/>
        <pc:sldMkLst>
          <pc:docMk/>
          <pc:sldMk cId="621183045" sldId="15215"/>
        </pc:sldMkLst>
        <pc:spChg chg="mod">
          <ac:chgData name="Denny, Andrea" userId="66b94637-b66b-41c1-93fa-1019c133ebb5" providerId="ADAL" clId="{0E03F0E6-9BB6-4335-9F80-258437F2C0A9}" dt="2023-04-08T22:00:35.358" v="572" actId="20577"/>
          <ac:spMkLst>
            <pc:docMk/>
            <pc:sldMk cId="621183045" sldId="15215"/>
            <ac:spMk id="2" creationId="{77BC4C63-A6F4-15E6-D94B-BC405D5154CA}"/>
          </ac:spMkLst>
        </pc:spChg>
        <pc:spChg chg="mod">
          <ac:chgData name="Denny, Andrea" userId="66b94637-b66b-41c1-93fa-1019c133ebb5" providerId="ADAL" clId="{0E03F0E6-9BB6-4335-9F80-258437F2C0A9}" dt="2023-04-08T22:03:06.075" v="673" actId="6549"/>
          <ac:spMkLst>
            <pc:docMk/>
            <pc:sldMk cId="621183045" sldId="15215"/>
            <ac:spMk id="6" creationId="{D9B7EBAC-E0D4-5348-AEEA-6CBAC28DA5AC}"/>
          </ac:spMkLst>
        </pc:spChg>
      </pc:sldChg>
      <pc:sldChg chg="modSp add mod">
        <pc:chgData name="Denny, Andrea" userId="66b94637-b66b-41c1-93fa-1019c133ebb5" providerId="ADAL" clId="{0E03F0E6-9BB6-4335-9F80-258437F2C0A9}" dt="2023-04-08T21:53:50.712" v="175" actId="14100"/>
        <pc:sldMkLst>
          <pc:docMk/>
          <pc:sldMk cId="700824086" sldId="15216"/>
        </pc:sldMkLst>
        <pc:spChg chg="mod">
          <ac:chgData name="Denny, Andrea" userId="66b94637-b66b-41c1-93fa-1019c133ebb5" providerId="ADAL" clId="{0E03F0E6-9BB6-4335-9F80-258437F2C0A9}" dt="2023-04-08T21:53:44.756" v="173" actId="1076"/>
          <ac:spMkLst>
            <pc:docMk/>
            <pc:sldMk cId="700824086" sldId="15216"/>
            <ac:spMk id="2" creationId="{77BC4C63-A6F4-15E6-D94B-BC405D5154CA}"/>
          </ac:spMkLst>
        </pc:spChg>
        <pc:spChg chg="mod">
          <ac:chgData name="Denny, Andrea" userId="66b94637-b66b-41c1-93fa-1019c133ebb5" providerId="ADAL" clId="{0E03F0E6-9BB6-4335-9F80-258437F2C0A9}" dt="2023-04-08T21:53:50.712" v="175" actId="14100"/>
          <ac:spMkLst>
            <pc:docMk/>
            <pc:sldMk cId="700824086" sldId="15216"/>
            <ac:spMk id="6" creationId="{D9B7EBAC-E0D4-5348-AEEA-6CBAC28DA5AC}"/>
          </ac:spMkLst>
        </pc:spChg>
      </pc:sldChg>
      <pc:sldChg chg="del">
        <pc:chgData name="Denny, Andrea" userId="66b94637-b66b-41c1-93fa-1019c133ebb5" providerId="ADAL" clId="{0E03F0E6-9BB6-4335-9F80-258437F2C0A9}" dt="2023-04-08T21:39:36.492" v="40" actId="47"/>
        <pc:sldMkLst>
          <pc:docMk/>
          <pc:sldMk cId="2772982415" sldId="15216"/>
        </pc:sldMkLst>
      </pc:sldChg>
      <pc:sldChg chg="del">
        <pc:chgData name="Denny, Andrea" userId="66b94637-b66b-41c1-93fa-1019c133ebb5" providerId="ADAL" clId="{0E03F0E6-9BB6-4335-9F80-258437F2C0A9}" dt="2023-04-08T21:39:46.908" v="50" actId="47"/>
        <pc:sldMkLst>
          <pc:docMk/>
          <pc:sldMk cId="64475718" sldId="15217"/>
        </pc:sldMkLst>
      </pc:sldChg>
      <pc:sldChg chg="del">
        <pc:chgData name="Denny, Andrea" userId="66b94637-b66b-41c1-93fa-1019c133ebb5" providerId="ADAL" clId="{0E03F0E6-9BB6-4335-9F80-258437F2C0A9}" dt="2023-04-08T21:39:37.357" v="41" actId="47"/>
        <pc:sldMkLst>
          <pc:docMk/>
          <pc:sldMk cId="161598142" sldId="15218"/>
        </pc:sldMkLst>
      </pc:sldChg>
      <pc:sldChg chg="del">
        <pc:chgData name="Denny, Andrea" userId="66b94637-b66b-41c1-93fa-1019c133ebb5" providerId="ADAL" clId="{0E03F0E6-9BB6-4335-9F80-258437F2C0A9}" dt="2023-04-08T21:39:52.120" v="53" actId="47"/>
        <pc:sldMkLst>
          <pc:docMk/>
          <pc:sldMk cId="2516491564" sldId="15219"/>
        </pc:sldMkLst>
      </pc:sldChg>
      <pc:sldMasterChg chg="delSldLayout">
        <pc:chgData name="Denny, Andrea" userId="66b94637-b66b-41c1-93fa-1019c133ebb5" providerId="ADAL" clId="{0E03F0E6-9BB6-4335-9F80-258437F2C0A9}" dt="2023-04-08T21:53:19.480" v="110" actId="47"/>
        <pc:sldMasterMkLst>
          <pc:docMk/>
          <pc:sldMasterMk cId="817231953" sldId="2147483661"/>
        </pc:sldMasterMkLst>
        <pc:sldLayoutChg chg="del">
          <pc:chgData name="Denny, Andrea" userId="66b94637-b66b-41c1-93fa-1019c133ebb5" providerId="ADAL" clId="{0E03F0E6-9BB6-4335-9F80-258437F2C0A9}" dt="2023-04-08T21:39:07.954" v="37" actId="47"/>
          <pc:sldLayoutMkLst>
            <pc:docMk/>
            <pc:sldMasterMk cId="817231953" sldId="2147483661"/>
            <pc:sldLayoutMk cId="550229997" sldId="2147483710"/>
          </pc:sldLayoutMkLst>
        </pc:sldLayoutChg>
        <pc:sldLayoutChg chg="del">
          <pc:chgData name="Denny, Andrea" userId="66b94637-b66b-41c1-93fa-1019c133ebb5" providerId="ADAL" clId="{0E03F0E6-9BB6-4335-9F80-258437F2C0A9}" dt="2023-04-08T21:53:19.480" v="110" actId="47"/>
          <pc:sldLayoutMkLst>
            <pc:docMk/>
            <pc:sldMasterMk cId="817231953" sldId="2147483661"/>
            <pc:sldLayoutMk cId="635904659" sldId="2147483720"/>
          </pc:sldLayoutMkLst>
        </pc:sldLayoutChg>
      </pc:sldMasterChg>
    </pc:docChg>
  </pc:docChgLst>
</pc:chgInfo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ADENNY\AppData\Local\Microsoft\Windows\INetCache\Content.Outlook\QPREU9WC\Existing%20and%20CPRG%20CAP%20list.xlsx" TargetMode="Externa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olorStr">
        <cx:f>'Existing and CPRG CAP list'!$F$2:$F$53</cx:f>
        <cx:nf>'Existing and CPRG CAP list'!$F$1</cx:nf>
        <cx:lvl ptCount="52" name="CAP Status">
          <cx:pt idx="0">CAP and NOIP</cx:pt>
          <cx:pt idx="1">CAP and NOIP</cx:pt>
          <cx:pt idx="2">CAP and NOIP</cx:pt>
          <cx:pt idx="3">CAP and NOIP</cx:pt>
          <cx:pt idx="4">CAP and NOIP</cx:pt>
          <cx:pt idx="5">CAP and NOIP</cx:pt>
          <cx:pt idx="6">CAP and NOIP</cx:pt>
          <cx:pt idx="7">CAP and NOIP</cx:pt>
          <cx:pt idx="8">None</cx:pt>
          <cx:pt idx="9">CAP and NOIP</cx:pt>
          <cx:pt idx="10">CAP and NOIP</cx:pt>
          <cx:pt idx="11">CAP and NOIP</cx:pt>
          <cx:pt idx="12">CAP and NOIP</cx:pt>
          <cx:pt idx="13">CAP and NOIP</cx:pt>
          <cx:pt idx="14">None</cx:pt>
          <cx:pt idx="15">CAP and NOIP</cx:pt>
          <cx:pt idx="16">None</cx:pt>
          <cx:pt idx="17">CAP and NOIP</cx:pt>
          <cx:pt idx="18">CAP and NOIP</cx:pt>
          <cx:pt idx="19">CAP and NOIP</cx:pt>
          <cx:pt idx="20">CAP and NOIP</cx:pt>
          <cx:pt idx="21">CAP and NOIP</cx:pt>
          <cx:pt idx="22">CAP and NOIP</cx:pt>
          <cx:pt idx="23">CAP and NOIP</cx:pt>
          <cx:pt idx="24">CAP and NOIP</cx:pt>
          <cx:pt idx="25">CAP and NOIP</cx:pt>
          <cx:pt idx="26">CAP and NOIP</cx:pt>
          <cx:pt idx="27">CAP and NOIP</cx:pt>
          <cx:pt idx="28">CAP and NOIP</cx:pt>
          <cx:pt idx="29">CAP and NOIP</cx:pt>
          <cx:pt idx="30">CAP and NOIP</cx:pt>
          <cx:pt idx="31">CAP and NOIP</cx:pt>
          <cx:pt idx="32">CAP and NOIP</cx:pt>
          <cx:pt idx="33">CAP and NOIP</cx:pt>
          <cx:pt idx="34">CAP and NOIP</cx:pt>
          <cx:pt idx="35">CAP and NOIP</cx:pt>
          <cx:pt idx="36">CAP and NOIP</cx:pt>
          <cx:pt idx="37">CAP and NOIP</cx:pt>
          <cx:pt idx="38">CAP and NOIP</cx:pt>
          <cx:pt idx="39">CAP and NOIP</cx:pt>
          <cx:pt idx="40">None</cx:pt>
          <cx:pt idx="41">CAP and NOIP</cx:pt>
          <cx:pt idx="42">CAP and NOIP</cx:pt>
          <cx:pt idx="43">CAP and NOIP</cx:pt>
          <cx:pt idx="44">CAP and NOIP</cx:pt>
          <cx:pt idx="45">CAP and NOIP</cx:pt>
          <cx:pt idx="46">CAP and NOIP</cx:pt>
          <cx:pt idx="47">CAP and NOIP</cx:pt>
          <cx:pt idx="48">CAP and NOIP</cx:pt>
          <cx:pt idx="49">CAP and NOIP</cx:pt>
          <cx:pt idx="50">CAP and NOIP</cx:pt>
          <cx:pt idx="51">CAP and NOIP</cx:pt>
        </cx:lvl>
      </cx:strDim>
      <cx:strDim type="cat">
        <cx:f>'Existing and CPRG CAP list'!$A$2:$A$53</cx:f>
        <cx:nf>'Existing and CPRG CAP list'!$A$1</cx:nf>
        <cx:lvl ptCount="52" name="State">
          <cx:pt idx="0">Alabama</cx:pt>
          <cx:pt idx="1">Alaska</cx:pt>
          <cx:pt idx="2">Arizona</cx:pt>
          <cx:pt idx="3">Arkansas</cx:pt>
          <cx:pt idx="4">California</cx:pt>
          <cx:pt idx="5">Colorado</cx:pt>
          <cx:pt idx="6">Connecticut</cx:pt>
          <cx:pt idx="7">Delaware</cx:pt>
          <cx:pt idx="8">Florida</cx:pt>
          <cx:pt idx="9">Georgia</cx:pt>
          <cx:pt idx="10">Hawaii</cx:pt>
          <cx:pt idx="11">Idaho</cx:pt>
          <cx:pt idx="12">Illinois</cx:pt>
          <cx:pt idx="13">Indiana</cx:pt>
          <cx:pt idx="14">Iowa</cx:pt>
          <cx:pt idx="15">Kansas</cx:pt>
          <cx:pt idx="16">Kentucky</cx:pt>
          <cx:pt idx="17">Louisiana</cx:pt>
          <cx:pt idx="18">Maine</cx:pt>
          <cx:pt idx="19">Maryland</cx:pt>
          <cx:pt idx="20">Massachusetts</cx:pt>
          <cx:pt idx="21">Michigan</cx:pt>
          <cx:pt idx="22">Minnesota</cx:pt>
          <cx:pt idx="23">Mississippi</cx:pt>
          <cx:pt idx="24">Missouri</cx:pt>
          <cx:pt idx="25">Montana</cx:pt>
          <cx:pt idx="26">Nebraska</cx:pt>
          <cx:pt idx="27">Nevada</cx:pt>
          <cx:pt idx="28">New Hampshire</cx:pt>
          <cx:pt idx="29">New Jersey</cx:pt>
          <cx:pt idx="30">New Mexico</cx:pt>
          <cx:pt idx="31">New York</cx:pt>
          <cx:pt idx="32">North Carolina</cx:pt>
          <cx:pt idx="33">North Dakota</cx:pt>
          <cx:pt idx="34">Ohio</cx:pt>
          <cx:pt idx="35">Oklahoma</cx:pt>
          <cx:pt idx="36">Oregon</cx:pt>
          <cx:pt idx="37">Pennsylvania</cx:pt>
          <cx:pt idx="38">Rhode Island</cx:pt>
          <cx:pt idx="39">South Carolina</cx:pt>
          <cx:pt idx="40">South Dakota</cx:pt>
          <cx:pt idx="41">Tennessee</cx:pt>
          <cx:pt idx="42">Texas</cx:pt>
          <cx:pt idx="43">Utah</cx:pt>
          <cx:pt idx="44">Vermont</cx:pt>
          <cx:pt idx="45">Virginia</cx:pt>
          <cx:pt idx="46">Washington</cx:pt>
          <cx:pt idx="47">West Virginia</cx:pt>
          <cx:pt idx="48">Wisconsin</cx:pt>
          <cx:pt idx="49">Wyoming</cx:pt>
          <cx:pt idx="50">Washington, DC</cx:pt>
          <cx:pt idx="51">Puerto Rico</cx:pt>
        </cx:lvl>
      </cx:strDim>
    </cx:data>
  </cx:chartData>
  <cx:chart>
    <cx:plotArea>
      <cx:plotAreaRegion>
        <cx:series layoutId="regionMap" uniqueId="{5BAD46EE-06B6-42A2-A88B-269D0D86C349}">
          <cx:tx>
            <cx:txData>
              <cx:f>'Existing and CPRG CAP list'!$F$1</cx:f>
              <cx:v>CAP Status</cx:v>
            </cx:txData>
          </cx:tx>
          <cx:dataId val="0"/>
          <cx:layoutPr>
            <cx:geography cultureLanguage="en-US" cultureRegion="US" attribution="Powered by Bing">
              <cx:geoCache provider="{E9337A44-BEBE-4D9F-B70C-5C5E7DAFC167}">
                <cx:binary>1H3Zctw40u6rOHz9U02QAEFOTE9Ek7WrtFiyLbdvGNWSmgQ3cN+e/iTAKrHELtuaGJ2LUjvQQGIh
yA+JTCQSqH8/tv96jJ53+Yc2jpLiX4/t7x/9skz/9dtvxaP/HO+Ki5g95rzgf5cXjzz+jf/9N3t8
/u0p3zUs8X7TVIR/e/R3efncfvzPv6E175lv+eOuZDz5VD3n3d1zUUVl8ZO8k1kfdk8xS2asKHP2
WKLfPz7sCh+eWPLk/z7MnI8fnpOSld3nLn3+/eOrsh8//DZt8R9P/xBBB8vqCerq5oWlYkop0Sz5
Rz9+iHji7bMVSi9UZGimScmQTw7Pvt7FUP/QxQ/87w8Oj6r4L7Y7lDjVO9m33dNT/lwU8JLy/z9q
5dV7QSF47UdeJaX4qh584N8/fklY+fz04b7clc/Fxw+s4M5QwOHi5b7cy6/x22tc/vPvCQG+z4Ry
BN30Y/4q6x/IXe3yLtolTz/7Kv89ZkSjOrEmWBkXVEWapVt4wEo/PHPA6i09OY3PWHOCydXsLDH5
I9r9tYt/OlD/S0i0C2oYWDNUS5V/8OmP2cg0Lkys6rqm7tkMoBtYeIDmDR06jcxLxQkwf2zPEhiH
J8nzY8keq/LwgU7NIv8dOBhdEEoQ0XUygINeg0MBPN3UTKRNJrc39uY0Mq8qT9BxPp8lOjc+4+8I
i3qBESE6tuhpngFYVEsnpoaG6WzCM7/qzWlYhloTPG5WZ4nHFQNuKXj5jhMZNi4AEIR1yzzJKxa+
QJapq7qmHUbCXri8pS+nITl6jQkuV9dniQsoQjzfPb0jrwg1zTIJUbF2EhakkguCqakbE5n/lq6c
RmWsOQHFuTlLUEBSFuE7cooBnIAxiBVrL/KBIY5FPiLahUYFr1gTTH7dk9OIHOpN8Pjj8jzxyFnP
k3cERMcXoPtqIMf36u9kKYMQugAdjVgGMSQTgRrwSgf7dYd+gMuh4hSY72cJzPVz8+HquWWP7zl/
4QusIZ0iPHx6daIfI9W4QKqpW6o5QeVtvTkNzHHdCTbXV2eJzR95uEuKXXEYuf+7cgxcY4JoUXUx
kYk/8/U0ZmkXoAyAnkb2CsFER35Lj06jM9acYPPH3Vlic8WKQvxLU/aO8IASrKkmNffoWJM1v2ld
wHSmgV6wVwyMw7MPatmbOnUaoVdvNAHp6v4sQXJ2Efub58nPrVT/3fpSpxcawYZhob0mAFPYK00A
AUiIgjKg7iXTa4ze1qfTEB3XnSDk/HGWCM2eo12zy58P3+gdpjjrQgUWMjSwmA1/r/Gh5AIbpoF1
BDOh+JtMcW/p0Wl0xpoTbGbzs8RmAesa9rR7P2g084JYhCBNn85rIHZMqmMN9Gf5N9Gh39CT05C8
VJwgsjhPg9lN/uzx5P0AwfqFpZvADbox8MIEF6SpF6AKIKRP9LRfd+Q0Hod6EzhuzlMHWD7z3HtX
2aJdGBhskyY9vT9j6hcYY51ida+eTfjkDR06jctLxQkwy/OUKiuQKewd9TIp0oVQOXx3YIdXMp+A
QUaj2DJ0fODOQSP7dU9OA3KoN8FjtT5LSXIJK+/qMewO3+YdpDwVH1zXTHzaHmOSC82kVMV4P7NN
cHlLj04jM9acYHP551lis37a+e+49sf4QjctlWp4b8efrDARwrCGsXSAZmJT/mVHTuOxrzYBYz07
SzAeOg6eAN778QnWwJRsGZrxgwU/UoGRiDBtquqgAhyePcxfb+jQaVheKk6AeThTLokilnD2jqYY
rF4gYBIMZv7hw08YBdb6CINmRl6MAa+RWb+hR6ehGWtOsFmfp1a8Tp7Y7l1ty9YFrO4tWMHvtWLr
tbiH/X2wO5uqYe23mCfC5Q0d+gEyhzeZAnOeO2Nr3rzj6hGmMpVig1CMXxaJx0qYpV8IOAyk7vMn
xrFf9eYHkMh3mOJxHmrxz/2nht2QQRV7VfK/dSqz4LvrxDCoPrDLZCfGAoMMgoW9JnhK/E1wmbh1
/bhbpwGaVH/1JufhM/aVwSryvW2UYGWB7RXrNKtQ88KwwEQGuzQDK8F65nhz7C09Oo3GWHPCMl/P
g2Ve9Ro8MS/fewPGBEsXhuU9rE3kH3z5V5OYCeozsAsw1MAswEzHyPy6P6dxOdR79X7weudp19/y
ihXvLPPVC8sEbjAJ2FReIYJgywyZsNO81wYmwv5NfTkNylHVCS7b8+SW2+ckKbqo3r3rbAaasmnB
hsve5qWqE54Br2VTN03BUgPPgCZ9zDNv7dVpkF7XnuB0e544Xe1Y8o5bLpiAG5lwtjiatI5ZyLAu
NGQgDOrbANCEhX7ZndPI7KtNILk6z82Wq11R7B79qnguy/dcZWoXsBepE2LANtcxJhTcY1TQl8FN
9iTTvLk/P8Lm1etMMTpTtmGPPvN277kBA/4YFFOLmqetZWDGpOBSRq0f6M5Xb+jRDwB6qTnFZn2W
ljPhvcCrnB2m/ncwMYMqZlBwhMF7JXni8id8ZSgFH0yy30ierGve0qMfYXN4lyk25+mMecWT8l0N
NBjOKcHEhSzYCZN/E50NqeCDAd6a2j/2Y97QlR9gcniHKSSfz5JdbsIIzP7veigGtsBMHfZb9jax
qZZmgaEZfP5UlcJsJv8OrDpYmt/So9PQjDUn2Nycp6/s9fNf+ft6L4szMRoFj0zYwZR/06nMuoC1
j9h0Pu3295YencZmrDnB5vo81bTPz+27+mMicEbSTQwuFgMwk6UN2M50OEcGS5u9Q8BkafPL7pxG
ZV9tAsnnb2c5lV0/17v39FLS4ZsTA8O5mL0z0gQThAzYwSS68GSSoEH+8XLz1/05Dcqh3gSV669n
icpnMAXAqd/nd1xm6gSOVQIfgPvey5LleEkD2zI61sE583Asc7LB/KYuncbmqOoEns/nuTUjnOVX
uziFc+bv6XwJDmWGSQwEB/mG+WyimMGqk4AQAtP06Lbxmnfe2K3TME3eagLV9eosOUm81OY5L567
wzzzv69txOYzHL+wiH56bUPBSQO80OHGg72uNrHYvK1PPwbp8D5ThDZni9CfPA/fER9w29AtDXyU
J5tp4L0M/v8qNmHxI/8m+wMCmF915cewDDWnoPx5nqDwvPQ/OLucg+fG7v2gASkEsl+nBOwyBwSO
pRAFvw2TYERhE0f+TaTQ9Zv79QOcJvWnaDlnjNZsF77v+WYK/rKGDsfM9lvT1msjKEx+oH+LY4SH
ee4wToY16YDVr3v1M6QOtac4zc4Spzsf7lr5sC7e944TWJ/CrTOadbCkTY+lCbUBmeBwA+c55R+o
Fcdqw1t7dRqn17UnON2tzxKnh+ei/DBuxg8f63/XG+BkOtx7QsBc/QMHdRXOPungCKLu9YoJUG/u
1mmkJtUnUD2c50rpnlf/fwQVHO5Q4XYg7WBbmOjipthWhZMEcFJ6YKqJ/frt/ToN1rT+BK378xRU
w1sdJvX34ivwmsY67JDC4mjAYqL2CUGl6XCgEBkTTfyt/fkZRoe3mSJ0niLqS7nzD+LhHWY8sAZp
OgVdbnTIOVb35D0DFNxDNGPCP7/qx2lEhloTJL58Pksh9PU5j2Hb5P3AADZR4e46+G8yl8GlTgY4
uVsGXCog/2C3+1hBeENPTsPxUnGCyNfzRGS8WPDwff53DoHNOAwnBKkODh6HBc8rDpGHCMHKDec+
D0/dHy54uebwQD/Vm9PAHL/JBJuHP86SWx5Y8ciTgr2ve4EBDEF0uKlu+Hu9/oEzBnCGCgzZ1ulz
t2/q0g/wGd9mCs95atS3cMFnyT/cveGmlJ/dL/njvJeLO2e7cjeXN34eXT/581yJAdxGOqm6nwNP
cdU+a/30+0cKx3+PfL5FG68mz/FuqGFKHes874ry948KUsE1H8OxLzHSEBzKgx2RBhYgMgu8v2HT
Ea7cE7O2pcKTEmHB+P0jLPpUpBsG1ARrsKmJW2IKoQvDPaUGnFqCJYYJ/hcE7pFRrZf7Vm951MEZ
6JfPsU9/SKr4lrOkLH7/KI/0p0M50VfYdqZwpBYYAOS0TrCFYRctfdzdwUkrKI7+T439VHWVXrmM
cj92qFdlm6aIsg15iQ20tOWRHXQsjexGxmWpf+S1btnP8q7L7KN80Z5MyoAjLdtoptcsvMa6LcMK
9/OiiT75NS0XSWQmm7Dw3dAuiqJ1Ys9kjiSyrk82Mki7DrKHQnkShL0jybJUJOqPRY+aG8uM2TLW
KjG386r5s678wB4zJ09tcKCER9mn2ht6VihUtWOrZbOxTIKKBzWorbkSleuU5vWycJN8k/RNvlGx
EapOE7plZEuqDKhRvEqHnOQbmdP7qo0U4q1lbUmKahRv0GcZHwvKpAzGkkNx8dijB5zKntC8hJuL
IjSufNWzK0NN12NLMqZb9IqqmbHwWco3rR5mvSOjMggEcUxqrQvZuPL2xEpXDbu3CjpAOaI4AVUm
E4m/6Wn9rDNoapdGavROjs1004mhFmDTt3lL2TzwPRi1cpDyOPWdHKXqUFDSZJWhnhzSGlH0BSrR
tRynnaTJ7Bihy0z3w6VMRY1hOhUrDfuoroxqDb41KtosZGpgDtEjmRwaFUndt1ukXDc4rzaYaQaw
lIjKgDWoXldgY2JBtem8XIvsuDBK4AkIEq0tNzIJV+CVTqfo3GFILzaUR36+ktGyK23uZd4a+XEy
K82ktUNTB6YSQVW0la0C+jPkVmxFzW4u6eylhBq6Sy3J1WWutXzjpgbfBFYYRPaY1nOuzyMj+VNr
83QjA4PAx5cxPVLTDRKBTEZ999B3qTk3RQnTC5zUSvCqJYKZXEWF0GR+vbRyulIJiTc1aAEbj5Zm
aB9FdfapJR2wR9dms5BHkOsHbryJZdREcbJpsrZek/jW8CyyyIh6JV8s6S14hIyapPIiO4rjxuGW
GziJRrX4RqGeQ4PAWAW4s9T52H2KAjrTMjWyDTF2U/E5yhoGrEzKAIsMGQvj7MosfHNBLJZuSppG
ka31OIxsVXyjOMblou+KT/IrBBWMARmTT1MrpVu1mDoByttNZ7F2E/SJZ/tJl83bhrLYxlXbbDyW
QZSQMpylYULsKNToxuwz6qQsVewuKMreGfqFehbBB4IRysGBwpGdkphgJXcqt9BWkiQRGrFyF31a
J5vI7WGSD6P4a1ok3mJIRqLPXcAVJ3c5tgtVs2PmemtPjD6Xkq9Wm3mLBvfrIOP1sleqYiPzZAwj
ba7hKFoB4vlGUa18I2NWm9aRrWRFvsl8pZgjvXoyyyaP7NKnwCehksHAE1GZTvrgHplhuiA1TjdK
rSeRLaNu4IPEEkSziBkMJm8beRrfoCRJN2HptfBhepfD14LAA13GNhoY0sTyvqmKX2w6EcjYmDR7
K53j3v9bkqrK+9OsW2Pu8wqGBFVosTGj2F3oXn9VobDcSJLvldqSGXzVhuZDiiOY719e1kxwBS/7
km5V1tpaq6Sz8Q2H19T9AkZd0WWbtETaWo23XggvOL6lTMr3TXGabXBdL1ozd5csQp2j4po58s3l
61KlhmFIZCgJPEsdgzbaKhCfqGopzOdaEM6PxqscHTwsrJludKGtF0L4Dxws2NiqlGXs62g5kjCO
rzMfOE/LFZiBdRDxY+D1EXMoYb0jUeFm1iwytb4NSMhBMSj5BguxLZOByv3Ilmk4m+3ZvK+DuSUV
gkrJYAYTgWrGKQybrF5EcBjGMWrdmqVamc6oGPNG6zabmIbcCeK6cfI0aTeS5ibdd8rLYKFVJLiU
gRGFvV1yFc0aP8YzvSelXSGQjq3H842MUdODQZqEebvO6T1qOtOmiWk4POuLTRrHLQwHNSs2lgjq
tvVsS23juacikN+hFsCAFwN8SOOsdJ3E8oG9PTQz0hxYTcKfCyBl0HcmELOuMW0ts4jj9RT1jkbr
dKOL8VwqahzZPLCtkjOQePD55OCWsTFZ5gaac7Wp5iZiNu16tJGB56EHUrPa6TkwuyqmThlQBvPp
SJNJ3idWaMuoLCOzx6Sk6YHnL7XOuJQpDBI6tGW5ISqpR+0MURM1jlHCvGd0tbLIi2yrJXGxaTuY
GbSiJWu1+MQ1o55VFcUzjEJ9Viue53BiqXaTxOFMS2GcRUKVLIUiVaAEZg0siENU5sOkcuPGfWCr
UW7YYoG5aYSQyT0FeimjkiiDVGTLmAJaMwgNMdLGOjJZf9IrwoZGZJakyoY6Q8isUOtrOy2MFFQT
kWaikbEl3w0yW2MkaYSC4g3ZXOozsqQvlVxRJxAxmQzjBkAY07LgmByyY6k3y5KyUiQ5ZmxTlh+T
Q/bkacFYh1gBX5ZVOvRA1jvq5VBwaINmuWt7rqk5eQhCn7dC6BUNCD2ZdjVczzy3LAaazKhErozJ
oDdBZMrCMjbWlcmqz/xNRGyZwB4FwSqjKjH63pGFFSzErYwO1LGd8VEgEVXHiyLfkbnyeePjZWws
fNTi2Naki5MqY7mWwUxhspUmmBUJtpVB/xKbJPUuthwQ8MSWGZoQY5nQNsYAkzifu6R7kiS1YiDe
LaGajUUmSZnxQxrnfjhjVajaspwu9YVJW8NTTuZXNXGdzMjwvscvLyr7Lt+ikJOUjA5vJcrI7FwP
YPoaX3UsQ5BH1nW2stJGXzUsc+QXlIH8eI1SAuQUNfFCCY37NE0Ku46qesalkhfX9ZXvxXRRCC2N
CN2MSpVPpsdgIOYJcm0ryzQQTEIvHPN1UXNoUjYi0zJ7IMq02kXtHCW93ZhUsX1TaZy0URVYyObW
pow6bqsKKedZzrht5oE3xyTX+3mWUupgXSGg3Aqx1+K+uUdtMaNdVqxqrAazCuUqzFfAS1jokpXU
JXupafs+vL+Z58zukMrnbmXhjdWreCNjfhaTIYZZTZew1F/5QvoUQn+ypFYVJEbqwJ5/7nSRx1RH
uUQazP+x1PhaBmt/P4lA5WJCfnsikERDKRSn1gpsc4ruNN/KF5HqtarDfHOjtmW3rCuTbFoRVJin
a1a6du6l5SYQqxYZi+tiHQSgM+Rqom5KETTU7TdFrqO5x8lfuFKrTS3WQWMgaQZoCDMd6R1864LZ
Sp81c17oCgiK3ncixSAOyoJvfW6a81iKY1NIYhkUPanXnD+oMAUDxuJLEKFXyQ8jYzKQGVHq1U5Z
u4nDYqPZDIEW+auiNxeunBtLOTP3wvzQiPk5kFFJVRN23eHAWnSNX28s8AOEtQaD9/XybjUtjMRs
LavJHBkjvp3qAAZYiMqjIH6dlLmSxjLEbcVqySxJsnrjWl29MQKcAL5+40jamCFjrfhUVmtZdii0
eYmvjI1BLcaAxFzSZLJEwugzpodYX33y+65ahMNqQTQoM2RlWY959Lo0MFr0QuRWQrqCbphsxqQi
RaQvF3twe2uyycDpK7THovBLQNh21c5yjgpFOlsyVs79GpaqVs/dYtV2Vb0xaQQfXqMmKEcohVWv
wYoZLDB8p6GUz2o9rbYyqLLGoWVlrqjaFiAUECgdMqhisEPZGJuzWq3SYQLP6g6EyziHxUht52ld
MbtKzG4T6dms0Xmz0cUSDYlgTFY99mN7TMuYLCNLy2TqqhE4Z8JvGe3No6+sfI887XLm+fsfVnpJ
/uczj+GfrDMSxe8yjSk4IDf8oNNPS8H1d2JHopgWEr15aWv84SBhIX3p6sTkOvwE1A/ssT/NfGWs
fTz+6aPD7ogwZmoY/8xWO7kNYzTYynp7e60B5lUKrgEUfjpIg9EGm2WDuRaOil6AeZRaYHfVLM0y
wF9qb60FFxwwnYrjbvufTtmbahH8VgH4XIMLAYITJhbce/vfmGphzwhMsaOpFly7Tbh0EmYOXaPg
mAV3Ib421UYoAKHVhOQ50/kVSVT9S5tF2iz1e2uJakP70uBMm8V9bi1lrmoqaMjV8kQfcqMo3Oee
qiubkoVP1UXWjnncn3l1ml3KwIyiLLXHtNV22SUVwYQWeH16KKgUWyMp25WH+3w7BlFqHScZjpVL
Hq6szNIfvDSKt3BRp+coIpl1iTpvGp8uNVBCHjRaPoVJ2dzAOt9Gvj/nNA8WYd9030maOUmJrIfa
a8E2E5QgmFTa4xlYNdxLMFO7lzJmpJZ7mbiekdtjOnSRvqnrwA47FQQ4dTu7BO3Fm5lNjy7bCNFs
AfdUoUuZ9o3qRuGu+lcasmDVwUy8DXqfbyMR+G5LHZDp2JlkyKQMDJbzbZiGSgEGJ4imK8trwq3M
i9pWmXt+G8w9r4O1vt6b10GR1wsvdc1rX8T6tm3t3CJ8lqIliMfiK6xHldsy4uEyVHxuw0zIr2sR
uEoIAc06m6SwECnLxqtSG8dGPEszz1rqZXmNvLK/9lIF3yO4+muu1a63yNuc3Pte2lx5afEli2N3
pvoqqe/CMIC1m+9QgxR3YB4p7+A96lXCGCz7BU0GgldsiwXeWiaNXvPuflZJNhSRegX2Rr5uWp1n
NmFVd9mY4XEgaalG26MMSQNF+ssec1O/7oJ6hVET3eQ68+9dVyHLAhsIzMGGf98WHbLrpmhngdaU
yyws9UuEtGqT0qZemShj16QNjHli9vxOa03dIUroP4QRTeymterLNMnUGdfayAmaIvgqY9FLrGgU
NtDGGOw+ggkm8o05inIw2NCELC3frXxHppukJksvtrxVjbpqVvd+ZitF49/TNkxWfQ56Mmhg5l1a
1LldK3Hw5LfNvMz8+HvpdmjmY4VdkVJzt54e4plbdu6CV5jYcep6yIZNT2LDoOeLNNL4td/5/Fql
Ob/uRJBRWI20Vp4uZEZudj4CvoEcxS+JbWbpI63aq8yNvmtB3Phg1M2UjUgmSQ0Cl9NeAYnIvwN7
wgu9JPME55+Kfo30Pr4EU4ue2TjE6DJIotCbleABO9ebPh+IQ35QoL+MNPZXNCZszn3FcKpaCcwl
UR6VMm6vQurq13FrOWZAo/5rHYEIVzPmmYltemCBQSTtbI+E3a3Vk3YIEjyDGuyY4rWmzbO8X7oY
irZR67RY65YR9dgn7nLN1ro8fmSNt2qDqn0gRX5Nk2wJ6o97KQOY9dxLIuYRmYzlZDKmAcAbt0/A
EpOjYFvCfs2Vn2M6A3HTf/NcdWsUmvHks/4e94Q9xKbVzFXiBlve5/EVgw28oWid9NsAx/zhSBSe
2AgEr4SJdIEjDxq24HSXuE8EBI2QPkcbgRTFrPIN33wGvSlaM2nz18QKRBELzRIMWWC8FNFpelr0
KP2P6LRu0fWho5QtnmO9V79UmXeXka69iRkLvvDGceMidlzeufNIwCwDZPQY5rA43CZROdBjjfu6
LXNNUaNVcncuy43VXmqMdKL1nm7LGr9+RpbkV1nSJPedmcPmZM2bT0zL861r+MGMGGW688J647W6
9zW2FLbGphsvvNxMd/VlybxwV8S8WMDvZZorMDoWXxUlXscBLCT68r71+uQWtGFyF/vVldfR6ltH
iL/q4WaROQJd9VtSZ7Ed54V/E5PCW+UeRQ7KUWxbeed/r92ic2JVbbc1KKX3cZjdUkEvzNafq3Hv
rjOwOT30lepIemUFdNGVgbZ049D/jsqbpmvpN7dLlFVd5XguyV6N12WQsi+eZZaXJe7Dmdt47Luu
BbNfjD4TPP9f6TZwjBPcZDTYKddBw4Gh+Hr09YFuFoZqsKcAbH0hc0B0BWrYf8dqbzhNp4HOkLr6
XdWbIMp5912NLMNRvLLY9kWn3/me8tABwy5Qw4NZF7nhNtfVcBun+T4maYoZ34ZJ760mdFm2rYy2
sGW5MTswsttcz+GLn2hO0tQiWKZ+9YkSzOdtVTVbtYzJNszNYB7z3vtWGsENFcxNXHKbGVh9kEU1
H++L1r12VJTTiD5xRb8N0hg9GG7H5yhFPmwSlB72bQUrfZrcmlWzBpZcNAEOPGFlXqgRDj3bq/x9
7HXutJzSskUbcqjxuhw3C7TR8go7ZmKpW6XrjwMrRetAN/L1hD6WDd1U3cqkQfi2bGN3xcKuq+yx
yFhX0ghPbrQmaleyqsyU9Gm12FLvlFBrZi0PF24fdZ9BeAYOMlH+zehKZrPSbP4Co8NVH3pgXw/C
0mZMgYVazGCPmFj5HWJx7igk+YKCNrjRfFX78pLqLU//wlj2Ravj4AaJlMiTKQ0k1VjyTfV68YSX
VsbnwSbe8PSXvPF5Im9MvfSMJBFdhymr7AAx/8pMPey0ROOzmGLvStJkbAxCmeFF2DFQuy93qrDf
uu6w9hx+OPaEHKHgjXvMyLB20nW4m9USLrtwMwudMHLrM0Xzc115YoF6X4JR5pMJ26tXRejWjuRo
UAkeq0Q3P4Hqw66yF7oJ9OKFXvcMtmkzrRMqxCPs5VtH5SVd9+hj5O5Ybt1ZZdRXNjA32rovo3aI
CZraF9k8YAa2Lb9QoaAY1DJbBnK0yZgsCNIR23B5BrQoiUPjJgK7UAaeFzOFg1KcRWFqJ7WVXGZC
KY65ri59VWczmVQTM/pUomBIcVFCd73UZm3MLxn53peRY7oduYyysrhptCZ1ShbGjxnxncA12u8x
qMnzsYRBnlyyKWrTWFNdD+0SGaBkjelU/4U2QMD1aIqiWOxqGoG7KU19imJadZzCHGQ+KV6EiGIT
lMEOrlhFcrSMKk35LBNhuGpIqnxOYcvznnW7OqaXbhF4V4aRg1b4kgQjB3Q4aNwh12I0/2R53UwF
eUP6TNvqOPJWRapqWyJiuqDJmKSNuTx1leVYTsYa1tyBJZZtG2rBGgRr7aLM8uIm7L19IDN4ZbWw
KDzQZBEwRYF2KjJSErXEzkU9+AmofTOytCxohZ1l/1zmGf/kFAqLQ/hNAwvDT3vCmv61yPNgE05R
W19/IknpOQVjaAuG/X1gFAxGqkyXJQbtMPXmesmKzUjKEgAmYrU+7xnB1woL8XUIG8cBbB9f4a7C
15oIJJ0FOJpbHcLOJEPmtmCrLHONzcvKUso17xmNrlVeBzOmxd+ylqE14aS4AeeR4kYXMUHn2OhW
Q9kwwOENrsLLGtfal17j1i2l7DJvUv2LHnbmrcjLwNFtzCtECuPmM+dRN+eakq2LJg0uZSxoun0s
eomNuWPMa2hwGWpFvvw5NuBr9w8GAMc4A25sgasNxUkR9TU4PvXdKOjU/Cksk77Ac5pai9zvlKvI
zG5TBVxNZGogUeT2dp5U3cwDT0AnGtKitMwPQtaBsTtfd4mpXOmxT+plZ/GjZmSGLMvgZtJZyZvS
dtM8cALeK38SLbnjaY48GwwkXQnbhrmn37Zakn1v3NRzojJR71W/b+cJV9yrLFWDtcaSbG0avn4V
gtCcoybI78G6HDhd4XvfRYt+SMGTK99i1wvvTN3Pl1hJdbtssvgRvJmXWdt031gdu/NeoWDajAz3
VpaArdTmOgqCwC7lcBXDswVL/ZbKMdtkXWoT3YsW1UvOWJBrVTTTvTpxkkYvPlktt6Os9e9xZvn3
WlNpM2aZxULSXkqUbRbOUOveZWL9SHo/WWiuy2aFSEoai2i8yCzQ/ahccXov6QRWap9kQUlTrCCY
9SgoPsmMsa1YLlwTDfa0CqXc4MyfZ+A8dV15LayHRQy8hfh1ShJyiTJvPqHLEjJT1JRFx0pE1MxF
zZdmZQlJl8U01g7NStKk+utmC4v/Qmab/xjsRIPfVoFfsxG/oAauqBOZXRpMDbowceFnKpIZQtTg
Nmy7wgpdhWW6gcz4UiYz4iKb5EEPG26wELRl9qRgYPqwwzUUl4Va0YYsORaXTcqkbNJMyU2k6fGC
BWV3zbCeanbpRtV1eikpfaN316Ek0zRwwW1Ube0IhLpmj/lgta1sSqNw2SPWXQ/Z+1YQWJHsPI/J
nHvzNDerEiwmVb5FAc9icCyAqAwKJXIvY28uEyq4422PCo/FOpHjww3Dl0o0h1/Bg+YkaYiCXx0I
IKq7sGcU8asiSbpFCjq7TcH2diVpMiBgWWhtGTUbuk3VLl8bfunvaWNB3yr3LUialRIL7gqADYMf
Km3wq8bT6Q78JuB+ELH+hxkKrtl9Pd15Vh8QKy2Vv8IinJdgu9BtJTezGeJVO5MyYpQlZm211+Z3
SWBJCkWlTOli2AoJ+35fXtJkzZ717XX9CDOJaFVIqaGt1+0PD2UB/ZvCIAjbuPgUi6Cmd76Ks9tB
ZxCKAyzBR4pnxuFtGmxxpTkt4PIpLCNybym1Nyswx0vPtch90hvBpZFpmS1zW9SSe1EBuzAPSBJY
XKFC09tRUSRLqdsoVljNgGf4Sia9OKtmWoT4ShVqEDgo73Ol5X3MlZZ3mauKwpO6KFSTLzxu4nWf
tn+7nRbf+qqfDIHi1U99GqK1JMnMyozqdaDlf8eoSG4jFVxeW7gbAd4EThdVi0D3ZrXQHIP/R9mX
NUeqK93+IiKYBa/UPLns8twvinbvbgQCJGaJX/8tVH26vH32PTvui4JMJbTbBqHMXGsxtHyhXR2c
a233B9IGchW0NP3Wkhmxx7y3aaLLNK3FhqqeLfFyYY8DIK2PDlerOO2Ak5ldKlMCG1nJlmOQ4x3X
j+4q7vpqzSwghgJHxOfaj6MzmY9kkKYJqinF7jaheOyfamtamLCb31yk76rh0wRqhVPi2RY2Gxn1
p8PQ1KhucOzmcinubSv80Wmi3vQgqjVxAr0JpdRvtBfnsI/GC2fsXxZCgh7O37a9qIrhszg25PEI
2jbeTCj8XAPrRxo1dj2pD9Wg0m8nlbKqJPRVcMI+7UEEJZXoHPq/vIHFhym3h0eUbdstJ8CUGtMM
g3wKq6m+GMPNcN9ALBHgyjmeOVVwSvPgwVg9rYbHIaO/eFH3B3ew5B1qq/61zqW1tRLjCGT+XPq6
1qqKKGZrNhR8cYvzTBUr7ukKaLGlVaB/jk1YGWOnzGVhL82+C4jXz2as43IJmOoaba/g5BXi0RT3
zSB5eZ8OjbwzFsWfYFV4JFxduwF5E97ihaO9xYAN6t7PFSBa81EZquip1s1xnOs0xu9rDqBCR6On
LpJf/d5oYzuUZ81idOyU/ttOLpi7Ytgygggx9wR9Ak0qfBoB+PE48j0f9c2//02j2m073YbiowWi
bllR2uy6sr/LleY6URVTJyD91MkcCV61u7Bp75DPtcHeBM9mOdJcJ7F3KeyCnGKRlVsZxwwt/LE8
kXwKV6Qq1SPeLHHSZFn5nZTqwHvZYoNVAC44cPcvonWeVHZw56ImeEIRv0KFC/hrH+nxsp7sKErC
Qlf3FTrgMZk2fUndhA0uz366VdYtKw1+xjS/em5DyLL2GM3DzTdUMrEdoBChm+asYmzvuosYwl1F
m23pKu/Vy5lYaukHu6CwvNcujI7UjeWlL/R4yTt6wBLIXyQ5EzLxI34UfjRHZoimRrdJPnQH0RbO
1viaeECHyE3tzTVtRuPpqZAt3dwSbZOb30yTWJu8+0+scZmI0JLAOg3drpWpPtyGaZD6UBbltiw7
d+t5qayT2+zVJgwNq5BOuyAf/fMUjsu+AjTbmy3j6vDWOdidOhkLa8xv/yDsbK1ze1zcfCYEPZxv
Tq/bzYgab/ORe3a1GjsV7rwqRPoldfpeepW3QO1SH4Quq1enya9+QanYaZbnK1Tm2LsngF4pAQw5
+2UVPjh+9xzO/gAFkjWPFd1UFqnQRNJsGhNaK0cfBjWGj5UnsudOrE3hyW8dY5j6kc8iNs8Yo5jD
0uFTWJqt6zxmkBv8X7sFz0YT/MsjhbWRuJBBcgkQdeH8yH1qFShvrIDin7yPkuF5mT/JdzSDFU35
utZFl9x8Puv0kLgohF9jqqKwj3jygj9nmdgvpokPbF0Br4//Eqm7R2ZNeg8GDQqj86ADewGhOnV3
cwHvYSe6dqtt7Qr/Gsa8kK9Du40WxueN3FkGdVyv7ThSC6nacueoOn6qQ8tehZ5ER3c25eQ3W95F
DGkHzFxX6AcK2SXGBM7JOQ+2fzIWZ5N4SoPricZThsOW5jm5T+PsR26X1aEMUXTufQVY1Jyz6DkB
+eKzZx//e9zNZwXoXF97bV/O671IH4LRBerWSt97XvKXdhisleMyvFJ0Sk/hZA/LIuD2uz2lO9vp
w7/+HsoJ3j7+HBrUw7DMlBo3EVDJ6LwM7C6ah9pGOde2GSg9BbsLg7q0EzNr7DFSd0j2/J0Fvoqd
GF88BOyusXi38JiuVp/Oqy2XbIoIOICaseLsTd23CR8ceslDbNP8EsUxYzZy9DeEs2plzNYtspUX
jXRzDS4oW7jF0ByMmVr1GwlYfw7TxnlhvF1EXvCzpz2aidBmf9RBnZ1k6LyZt5hxoTd3QH6bnYmI
CRD2/sXXAn1Ok5A55WQn0kEt6Zap3dIyMwtwNjAFc2p3m7CoLXbKySLg8ihWn67X+b7O/B1Tdpnk
boSWu24P3jykkKBDwxBHk+ACq128vLnMkQkzEcY0g92R9kCp027Qdc+SPO2jjUuJtxIiy95CIXSS
TXo68TGlL7E+MzJkbzYN6GGiVQUcFUw3BtQdeqjlzpiiqw4D4JCXvMnfaRt+544myzSkah9DKPe5
Y8WhKQb9zfiz2e/69j/6CWrq+8zypsS0Q1UY85UxTU/UdEPNxK1tevP1U7eVk72zWts7UZuJNV5+
NpreMG9D/MekdgA6TO1nGzObovahr9FN7eanKdtRWXunPM7rVar8auVNXnRSSMOTdBzrdxQOwBxk
IT0MqEw+y57iYc/qd59b/iZ3i27dTrZ8r13/lOHN/hj5LL6ePs1hX04ve2tp/Ngq+asgy49ZHVmf
4A+ekHmSl8QD8Q6QCOwEnHM7Ofg7wNIV6RbBhF1i1Kf8TPrnTFESJcjKkRyg2bhUmdWshhwNLOOD
0CA6GOQ57sXfwqrgjY/IfBImrfjB15cJxT2xcOLKWnLXy9aB17NHO67pPFnP2Ac6hNDW/l9vCCeY
KwafN134qB6+SxGHYLEG+KShqS9/ekOQ0gImsRrkN0n9YVFi/3Wwh6xqEi8DUD+5Hoc0CA4DASXP
ZaG/CMzUNcBMXYcmkJt8BOAZzc96M5RVcS1EQ7+x3kS4N1cm5aIilBthtcXKJGThIH7P5kMpHmI8
qga/YPAM5qhv++eG9Nnu5r9BIcb/TJp4g4m4hcX2+JxP7UW4VTJVPHvmuVqRoZzeXKfAM5WVFkpc
jX6Lx0nNZBB2x+PxGmYByXwqleUuzIYHuwt7TQMQNG5diNtO6EtH4xb8ZTv1xbxdGe+p7NrFuF3U
VcOx8/LoHKvuzvQly2x8cCw+vvpNUK/8vOiOIM3FRyvVbGVZefnWes0diDb6e28KxFXapReKd2ni
yK4+A52uHkfX3uOtrd+8Nii3rW7QL5hNE+YCynSUzlAlgoIajApJeX+7l1NdPg9S2eAVzTezF0q1
9UrkuCbEDN1847NQPPejsPc3/y3WXPP60FiBuF4vFzpbACTcgP1V8Asq0c5StUG8knGQX8zgltm3
qfT1wVh0dKJ7yt+MYc5hhLo7r4tbgGVwzj9dR1Xc/pctFvjf//UAQXwAuioAGeEr1P+VtXDF25Iy
Ib91zC33qMuxU+HH6Um1ulxwJB/LoA2qdmmc/zRtJjoZvLetLw8m0ezicx+mw8UYvGnapUsjtjGm
pXrnZFN1uSa5nNs/a0HS49BEwVY7QbagSgXjMo/7dOnVUizHRofbOu9fM6Q+K5ExAHimKT4H/ugQ
1A+9VxDe8r3xhXO5INcWenG03hhr0n4/Y+2AbRoHiRVQCODLKxr7DxGbVuaHKl1UHmwespXJlqno
2QMa2YtQpOOjiWh8EDpEVYidMWsSRvtxLvQY0/EKP6l5Nm4Kf6qO0lfLDruluxA87bup7lBndJg9
rtLe6hYs6qtwaaZAXvgWy8jf6jidFmmasq3QFXgsSjkXRtphOaG4c0m5HpZqPspnnwAJ5mSZbTvh
Tox3ZIZWesHuA+aibTIP7dxfMn4kfffGmjJ7hT52fIhCTu4na3g3S0cr0mk9SKvcOM2YHvouD3es
og9dodqTgax1bsV3gOJTNCuxpJvBKukD56Q9GesWYSBv5qw/1zARWap04uGJT27rolnsXKdlp47+
9cVtTDK47IRSlTFuS6ZZH80c7f+6LZbmqPZPQxs14d38fMso50cPvbo98kaAYfJgPNmOAFgmKhTq
fSzDLzXIX3rmD0nZ1eJ7XXb3ceHTX2H3MVQ6BArCkSsBBOFfbed8q8K4ek95mC4qNDz20kVC7Voe
OWk3J6ecdOSUBa3YVQ5/iHjlTUugyX9PVNFjyLAHHGxrTsAVCMrV4KabW2lOVcVaxMMJd8FDlDL/
x5+DIs2vnvw/B/NU55CzBWz6IbSL6ARiaQ+SSIPSYh9YDVIROGMHCM4lmIByXYHf+5DlQbCXtsoS
1nd2sWj9IF1aNo/XZnOA1ad5yPW5sKJNDRDb8bb+Efw21tjvlYvr0je0lw5klBXIy+luzHjxhPg3
h/r9R5+FZTI4aPZABqLdE1t6q7pBD4mUbWIiRO9ky65p+KkE7e4upL5c8Jq4OysSeOlGcXCQyFwP
zTwY8zY0tb0ZvYLtbq4+5OPGA3x9enGatt+g4L1C8Y3duehG3it0su8jKw+RUk1kMxDfoomI8mHN
6tBemGl/DswUy5F5pGhk1vkmyoo48cD33ORFM+3BXqyOBe+cNWgzuHnwifhFG1DyWpPgh5qC6qfk
XkJiwPiSKdVbq27UB7eApXD7li41iuJJNIjmUVgsiSFk9VC0Uf0o8j5b2T3nazPpZR05Uytem0nj
Sp3KmoUH5M6Yll2MhyANkOCPvJOo0xTPRe4Vp6mW1VIGwOOu69YuV1mJdggr0FyB6gN6KObQOM3A
5+nrke0GIpEVmi+3GGNiuQ03ka+sPafMJYnymwzSCvmbEio+07qMz8N8VLuZtbC51CszMXKhthTM
xwTZC1lwmmFZiZR+c110zhR5lYNLD6mS7aJCiacu/Xx6mSrbxo3r5hczpNZzT2t6b6HofOmCSh0c
3Xy7zXsQOlhBHsRdGp9rt98joXJsFMio1abQYC6NqfzeBWW4xKeZxTEbbXLnOHpc4E4pf/xDhARx
dj1K/81DenZJUf/0kGQ8GysP0k/WPIedBlrOc6RwrNXNmud0GPKfJYq4h0L0+X0PzNz1easLFP0V
KqHX7boBHlftcKA+AHtUlne6c6yXIGoXTTMNT9Rqh4vtVPiYsLBe/CpQx9ornGSco3I5kk1eM7ky
s0XO2iVrJdDFEhACc2lXFMW90/WfkoNhHMSmofnvnyBPvXLTpTxPWkgXHNXkXvqSTAX+MlmxGkK0
eh2QoS5mQL/0TkkRrDrangMDXGladMhY1qF4P+Nhrs5CB2IzuGil0jTHKyy0kJu5vLqX3lABCmuN
55ztjOfmvoUyJyjvzURROmoOtYkVbwYJbsQ2E7a7Qo28TYAuLX62AJc5gv4kZZShQ9B1z0EBcYXR
6aejkhDTAGdO9QtsEq3lFcxTZOBMTcOznZJmP6TRJ7+vvPwkJvFRpqV3wctnYRde/GQqLSKiizgb
5cVYOSVvzkDptS7jogi6GPoaMgBzDWdIO5DEranYGDPzwm6TZ8RdmquFutF74lokCSLargdH5Chp
xugV0yY42j46Kw1xwmSkHfvAs/cwODx99j28wKRbems7E/VJzx0uZNObtrGyv0jhlQmW4P6RTqm1
6ZnWW6CQhksxRX1iQnKOagtQIN+K0cJfZGAAr7nl8C81cP8fNpPEJgRfmvXxwvCcL0gTD7jO1Ill
8S3LeBIOdX/veFZ74Z3L97LldQLUUncxPklaB4t+0W+MaSYmj3w9S1nOVou4sx6DcEgqsBJVXHLo
VNwOgK0oHzw7dVeoRgESQLyuPZiBlkG9FoH9fbKs9lClRMkEWhztAZ9h+R1iTL/qcJ45vJ386Rxz
HaWb93/JXg24Q3xqGbjzd5TB/gEOepZA/vr7ahu7ZWPpje/uUJXrMnXyxJv3E848mCPJCrzWM7u7
NBnJd8aXzZuKsQ4wgT5AuyGWBzmh2dnzLDqVkFI88oEgBRIpktHQOX85GtzCvfrUn6P//7jRbdZd
kE4b06cMAAhOmI/CmkmLjZn6OT+4cxfTmNxXEEP4Y5rZW/Dt3E4MUfIl+GambYN/qLDowlYOOUZC
iHOk+bac0R1mQL3eW5Sx521QgGWPxRRX55B4C9+164+GaysBRrl7AE/D3UqOJJJFPkde4HlJrobw
L06TFn/tv0LeW0lZqHwvHSzJoWxlEqmieks1lnyLKehSzGalyJMlSPVQuWjGAZ13B+3y8i0rRLtl
Vg+qgTHzaUrCkerTmA/6xat+5uVUvY1FVR08P5rvbFwLTINsKSK73ZtZ7VuLmFUNAKO2QjqBn8Bc
zC6zdG1+gqvpx08iGqqHPq7qSzsEd2XKglUQ5NkOnGNn2SgSoKUh6X2WzxhZXmcfeDjes0h4j56d
e7swc9i6DfLmW0Q+rI6wjy8n0t55/d/3vxvO3f7P9z9KVKFLgAXBVw5cPzLgqE/Vm8nDqmnFYfkS
KuxFXnwn8tcty0O9TotlP/T0YIUePbChfmBp6m+MZfzorJEmudlg06DyDhjYdhz9cqdBUE0q5gso
jbm9k4AA3O68IVCXug7lvQj7RdoU+mJclVDDerAqkH/nCDPhu/Fj2PQADM4uAnLOsWXTs7HMoKgj
Qe5CVWUA5HeVu+AtkaklG9HTaaVyQCWxyYQSlN0VxwBghFeVAZUQlfoZSLp0V+ckX7BhCLoZDgXZ
DQgtLc1DfH3kzaOcdWLj+80h7SGDE+C1tMnjqT37aHpdB8l9N/GLoPg0weYQcwaZzzDBlQw/HI+G
4M9I8OMGaK4d7JjXh+7PUWNmjI1GbxQtIOf2Q8kYgO850FL2XWeH91/qAMa8+TKdTECxHY1H4HV0
upUMOjet0WWjPljsFduDAWK9pDn95mPtPxur786FL6Ln0qXlg03YGW0n68XtmTrgcwzZogl66wUk
pWwTotTajkCnXkDAqS5Yq/OHFn8Qxu3g0cox1GwUkC7I64PxlTLeiK7UG5rL4WBRqz9YQg+HuHAj
KLz8sc3RLSaao42JtO+OocjsDo7aXpM4huLFnlH5bGAUBjhhjnzW14kSMZDmEKSKkhSl5FtcIMAA
a618wvbA8c9OFgSLsMEOyptNM9hdGpwrXz7MiN69boKMJB1IyKdmoMmXsLzudHJlx9kT9Q+8bdjZ
DJVq+F2k742BaiDKzqgsv4jenWZBt9KHsh1iSTY3n3wHZdvZjHEzHaIuP2HFyS+qJUkhxuLeWDLk
s0JQNq9G+cUMZYEW1wR+FbYX//H5ErpxvYwWJR/YqWr0Xy0dvGceyshYMsu959yaPlnouV2ttnTd
Z87pp7kBpKglSq/lMoX82j5gub03R92opuuR8YGH6SX2WACgP5PE8VVJ6NgIh6LdRnoIOF2PHR88
xTIvqoSg572Laq13quyLoxtR8PEsTe/6sZxWFlqdF2i5ZUu/Yt1zFdQkoSP6FmrIfubIJ38ElYPb
WXVgAGR5Ai0kJB1t0ySEp2UKekd/LGsr+ghZ+4uCf/5WxSKGcIxTPguwxJY0Ahnpfy+o/8XcjTwg
qmYVZJDPwRKGGOzfG6Y8pKwa65Y8s47aiXnXjrKvFwVUqPamfA0ZqHohbbvYm1evmS2z9ves7RS/
Z2/nmlk3ULveFfLhn843lzMnMBcI46BpXH2oagVcS8eq5AsjIOwBuUcyPLhQVpp7z1Eej0ffzdoF
8uXxWTa0WaRxOD77SNp7gF0tyz370EB7hfbJtFdEzB1ZmKgU2qso9TQWSZhhSgClr7v6NHWOeA0C
sah1XWz6oItXacfCLbg/9SYY3PC5n4KLSQR1N7EkAuD5MYe6zrZN7XqTdjl5hurXJQNVapsGzN96
qt7brajeAwvQfIhaOiffq9wDi91gFYtweIFa3oupcv8JLdvqdygZqHMNjWL1KkZpLcGYJCc/Ai15
6RTgTuWiP3Qxw56u12l0ctGCPXndGH245XQJ8VB+2F79kzAVvnuy7JMYWhqvYK2BEhmGw7MiIGGU
sds/Fnmll3WPIoVtdcMqqpl/riprWAMYzO5oI+2N6v3uGI4+2bqWivdxRMq9Zwm1I+NoH6K6Flsd
ggwYZyLb9EqSO5kH1iqM9HTvAhaMFuDYX6pcFMs8i7qntnGRy7vV+IKFy0v6UjlvGbGggyFH6xuZ
pjf8T5of2ACcCGTkfgYQVvF7wfYpmjbbesR/Z4CI01kLXT9Usv5Q0O94d1LfXrapA72HFkRIpxgT
4y9VRzYNsG1rlRL7naXBlhURexr7s8LDvZtinW8lqNJgSkGzC00t/sOv+4TVvP+p62hWlezlc0aL
dD0LMR66ukpPURqUq8Ku01c+hi9jPPU/LZ6v+z7w16HI3a1GTrMQHu8vpaDe2uvt4UCAZsWCmMp1
3zD52JY5lkvmlR9BPa0d2XQHLrJiQbiMDmj8k+tgzBDdOOxBArY0E/iUzdgk5tAucxyaoOthPJ/u
dVN14Nmny5jgKOugMWGLYudaMVQoRru5o3bm7vuwctcpUItPADxWeOH41U+PvY8Tm35UeDEvVFPZ
D249VVsLOpZb30rde4tFePRqUn+0abMw51RR9Kt3bfEsS5+ve9x6h8ADM9tyKgIIL1MoRzc2Xot5
ucdq+JiZ3cc8ePMuxfibfnoE8vO36+ZHV/LRWCN1QYqAxNr1Gv9Pn7mI+RfUULyVHmACYRYFS5CF
0qd+qNu7rozuXStnT8YVBt2+RTP5bM+uKG5KECgze2Mm8yAqASdDM8CYsatRjws3PrHzdtGqYQV6
3Z1XTN057KzusWPZIS04yljOUGxrJ/BWw1zVAnU6TwY3bs+15/WPbp9+Cus1kJZl/OpxorcSZboy
HoHideuoOUJn8vdgzJJr/P2CoIKgV+jdU0ek93m2BzUX9UrjssbgG2R8u9++KcSDDhhAvTKz2GVI
fIv1f7VXUWf4+wY9AmEEcr0uWqt4OPENiy8AnNqryknklfuM/ieaMWustXI/TtEmRN3toZ5f5FMc
b0Db/G3NczdrnjOR3fxahyDMl7lb5J9rtvM1/1h/zsu41WzGBjpIdKBop9B+RHslPtrtAMxkFOo7
4zGDBlhqY+UFpAj+PtGGBbIAUyiOotJexg2Uz3gAJsPccsMDLu6Chm6NZQa/zYINFopm4QRs5EAg
Rv1iiCO9YZWzmEISgQPYx2eiM7rPvPwhq/L4bFzmyMrQrunTycIb4z8TqG4166pM9V0etyu/nNz7
dN616rKWyxDyQYCdVAHwm7l9wP6BJ7p0PxrUeZ8yJ/o5dS57bpxhXOuKOnuH8uDO9z0GxHDa7qQY
4xWqUWBvdcGFyFI+cllteBmK17Aa82PQozZoTAW8IlatoFs3qpKvenKzheXsQyH7O6uoyiVqUi7w
9yLEYz4G4i5tVpPTAjLaWtYOW4luNZQgwW70NH0PXDEmmg/dCpXp6LmX7sVDs/VHOaCFogQoIYAG
hdvCQyf9HyJQ3RTLjjruBkQeyPjIDk0NtyxPyIHlqpR2+YJ32V8gitCfrvved317X4BZ7G8paVKk
TjJA9aYI7sdCOPsclZIVSBfBmy2tNVNB+cOxIOxmIvDT2/uZdLYiIdpXrfTbBSs5tuAz5Bcl9X5R
NMiVXQmQCzCnmRWNhytEjrI+PWZaHZUN1VuUCLKks1rwQds8gHLH6P5KHf8OZWb+0YAXnAyAwr5G
sq4W2JTyJz1kzpLiP3NfZDH0pwEdPwWshCJrByiLzgZ2oCoQWxGJ6IRyY7HOG0gC4C8GUQYPDWWd
lmG7xh58Onm1BjfCFd4utS39xhXeAVLFqJnT5qTAP0iM36fttPSYQti8cKlafQqzeR0k3byCWbrC
1brgdxjnoHjz+Bde7fzVx68QIgrNewq5A2jxRuzY5XVzVzicQuWudz8cKI+kdvgjs22xmDoeAxkV
u/u2azL8sG79ykV5V4Y8/FEWxc/KGpsnUtfy37a+89cnPtcSsFTFjue7DsppNj799lVfvFPcIUUv
9DPQOvGl8V8ir8fCC7kMCLbGYAwUvH4vs1wmodX152GsvQflOpDWgJ9PfDXoccnAw1h4UvGdSUSM
mbXBZ9PMhqI71Jl8iKeoOFInG9esUfJSNLxZKFQ73r1yesgMLjeOdjIg9a82lN89XUSvFiiei3J0
yh2aP7+6rrUPlt2iedNL/Y2R6tJCMeixmf0MYPxl6nv623CscyrOo43Su8noBZ/s9TiJdGHyfVMX
QINLnTJXBruwIH63CYRdJXXg5RsoVmFnCeI4epVR1fwuppPRWQItPRxJXqXYINlqPBqbpmI8piro
0ZVQ+dcJEwIpbJxiAru4UasyUs+dH94bJKHBHoLlXhxnlwXSwAOTpIDERDQuQb60TxHp6hWx52TI
tiUkQDL1V5eBueqmwS8S1ZecRtYbBAWCBc8b534CWR3rv4Na3J/TMwrMmDkdv7nr6WGQ+r+abLhM
nk7PvU/HLclUdW5BK4BYdVi9QdSuW0ckLDdW01ZvjITvPfXH+6yesscYtFnj1nEVbSGeAImf+SQI
JJPEdxt69JndvWZi63u0fIuFDA/oEjdQ2oOpLP0I/s05nwWBqobekTyon9KxKw6j4w1L40+r9AxQ
Xf3kdXpZxZMDCT659rsOW3Ds5I8Aj38ebj6bdOPKF42XmJDbhDGBFB1X4CyRZTW2eqncsniI6ype
Ybth40WZDZssL+tjWmux49gW7ksgFw4eHtCtl/c9NEJKZ22nQwT48lSudJmrS1HEdCGjqn3mnaCQ
Enf6N5u1PClz7X136dwDluJnI9u15pSyZAqg1AssauJpmvQ8zdLEFmjCUNL96NPs0RumKv81AEyx
Mx0z1aIvQHv+YM/dNBFlsw44fzBz6Ohc57yZFP9nzvTk/vu8mDdsOYyVe2UPxH4WAlQas61BYIIb
6+2FZCBnzRzpLiXW2h8LCagr7sj+MbYhMM3T9BeYijtGRfaOWoiDhULxuyIuvL0NaZt1mbvkMWrQ
xc4gzfIzD6HwCQmFxqntZHIr6xI5E8RMsRmAqC/kktIa+83aLfS7qNNDFhfdqbW5tyGo5CUofKa/
ADktK9/7ZcnuXaC5/Ep6Lpd11E9nj0i9nTxX7jza+2tuFewAdfRsXbDWOXiNk53sri5WAH3xV28s
XqAD0P+chfJ67rPvmkO3Q4aa3YMYgZWmrtg2bQbvgTDOkBa7wQcZv2HLDLpBUXnjKTM0hVDJ8TD3
J8eZr2AmgAj6feQ7WkHfQEyJrYPwfhi790bG6m2ItF6TyketcQZidY6/hNR4/KSLsT6C15Qt7M7P
3nqRA66G22NrzHhqTn2bjpeGdt3DKPijO0fFwiu2ZachSjObKN6h8mmxH1Uw9nfoJ+BXIUFGuoGk
pkwTdJoz1PL/gK2g0re0IDl1Ni5SkWzbFGyDXoF3KLgC4SIl8caH7Pi5tQtr2Tp9/8RDFSZ2M4zf
ulQ+5Lg70kRaK865YEmVy4P2hvSjmxwQ+9PMf7anu+vGwOI/sFC/0M73XqGjPW37smIrY8bx/9F2
ZU2O4kr3FxHBKtCr8b6U7Vq6uuaF6BXEDkII8eu/g1zT1PUsdyZufA9NIGVKUG4bpMxzTvYiNAz8
0m5W/FmyjAnqWf/dOp384d1HUKAeLHog+C1q/oHhbckRFGnSGM+SlhawTY4Tqmbsz6YsskkAN1qD
Llk9RxWWJa5d+N9r4ALjDj/i2VeB17hT2QOWBXBndflcNxDIriuHzO6FCUUqPXUOguv+5jtN7U1s
Eh51dngjapejAKQ+zw8dIr4o6mJBtLPKfut474asS8uLm7X2tsK+YxtXVnqJwRoNiVHFvxVgZMdY
lOtBvfQzREGB0xiBm7CnJ0HtFezZj9OFPWXnEwhePWcSyd/pCaJtv1oqG+9t0zigXPz/IisDyNz9
6gOMEwcaBiZx8A8IdNg/ZDIQvolcwAn9Zwep3WUmVFa/5l60AMQs2wAoxg+BKcHN1KetQDqymw43
S4mKAKHulDlHJhLC3GFceECSkvGkcS4aDqPP7jAxd00pPQX1iI64W1CkoA0k+h4L8D548i0bi86g
FwfLaPxjl5F+xSGt8QKpEmiETx94UR8hxuB914MKg2GQn4q16WDPrwfxLMbPMgmcFz+vsdTPz7Zd
J9+FlKvA5viVNHEVEgUwDNh9X/yOjJ+p1fEQXBbv0VQZaLEZI6cudY0t+IfmLjOz5OQBLrCGPK2x
p4n7KYkQUMsBsjkiREcPwIema6MY5XMJThzelVL9iABv7lx8QYDHA96jT19kRr0Vo+37IATC2W0Q
tq3Nr0FKIwVaSHW1uc1ug9LpStO26XalyDbksxkRpEgAANr0Li1WJYCd7NPYxV8sL7CO0snS/Vin
FItdRBl5hLUshxj71p1ikI1jVguvUfQWg4S81GLab77UubeUJvCbhmGRz3X/k0849050w7pFPGUb
eKk/dTdOWl1iN/tc+EUEeTRwdTm3XyFjGD3oLn3QTVrkawTe0+Ndv8ttOxSFbFelesyEow7JJICI
DAjIxNPZfNB9WdzX26w84gkV9Ni3mU9lNgGO88g7WlO21ifA09pBSY52T+wXbVXC9I4tfYrbge/s
InNes5GukaQjT+bgJ9c2kU/5RAKrXE63VpGRpTHazsoQ0AOq6rbcSsTfl/pXawWq3FIViFtTWwtS
7yJLbby6++lNW7MBQP01wjgEXWgaqXVqgP98jKrvjvKNI6fKP+kFbmKtmW82p9ua1w5INyI6b/dL
BKexnMmg7ibNFOppPAG6Gks17DLjJeQKkmOdJsWTN6Yf+0fs+obSK54mf08U9M21j7kCwr+AuPBL
JpKVq++IFfUOS/9gKZ3e3JLRw39AkYyLouuCU5cl1YvRxSu9z1SlqHcF4sMoxmOLJzUk9aYOnHSt
E4VRVjiLInPpMcNH9lqml9q01Cegz55vIBhgvZzl6BjmGmtjH6rKwjgFfYftZdo1n1G34xJPsc4+
rfekKL03mQ0pgOKUnZuIRTtqcL5hMXUf8zK3FwGwKt87e+1m/GcJrsNbWT0iGAzd/18nhnHf89FU
Ar2QLj76lE3nv5kg9+mUA7AvU47IR7h1+jqVHCkjm1nxWlt70CSbSn0N/EWpsFeP8N8ZgkrQPeTM
z47Cqxi017j/JiBNzvPO+lagMsaCWtl4zbFIAhCQBCjPIOlL0fXP2qMtGDasLH/p6rzZiKBkOysX
zaOYgm/aw4fwRO316lTjmbbsJr2RdjpIE2QaMymsZWAlCvt6kqIT1bvCXPjpSzGwB8fOm4t++VRo
YUB90V/jyTa3Oif+0Po1LorwRfz7tz81/T++/ye4DTI/FhJ1f9RCcjzoZsfmoJ5HCuljS4odK4BJ
ohSa+H2VkoMmRuizWETYALngOC1THhnAkvXRWpSQ/QE5BTx8xCYOjTsEyJ6bz5mf0RXBo2qjXFSz
ICiAEGowsQYZp5PGTVdBn6gBYY1B1OhA8GT95Lv0Uxlk9lm3oN+9cMr0OWOI2likjPZ4brfLuPS9
NzCuv/sAyl1ryo2HbOyHRQGG2YOiRoMYxHBNup6D/Ce+e1CqfWsRWQN2oVevqSNYyNr8kqlYPlQp
WOgsCKqHlvrRNrUk37XYnRbYQ66UaPqnwTbHY87Eb9Zo90+qKe0wRY2dNaHIKtR4132nhC8cfHbb
zEqNbRN1X1ULHbjCLWp8HrGzlBZtv1j4tZd27b+6yo02oAOXG9LU4pqQ+pQDyvuWF85S55XMDrpE
SlbJxU+bqzSSdDcMjByiElwUfcDrEwjFqoHc2sQTmnhV/U9p432LDA1r6OekiiC06ZjtIfBVd0ZK
DK9SwdTK8YZm3WaRe27xdApl1ATrQAJRsABrG6pNIvMfg8g8O4DBfbEAmFlUdVUuIr+useFR68oM
XhOv7L8GAVTjG9nyVTqKdENa0wrxBJCvlBCGolNJ/y0GHb6NG5kshPPcly796fXGFZvibYfs/FL5
YCyozA67zuoWskiCTeZ29FANfNiSwNhHY1WuLAUWe877hQl09etYimHdAxe3riKBHXjZne0a+D0O
0OFXkclLgGTrD6ScELPxaRhHKHcEuaBunwMWo9l+cPidFliqsQdtIT8OcZJe9aFpTOtgZIDwTV2Z
gVJErAi8Ve1V1kn6CvwDWX8egvrSkLJ+Bir32WppfoaIkvlSGdanKrb8Bzut+Ul57QVEAED6izTF
Fu5HaoryaLL4kYLXvYv9grkgYlfu0UAAmq7GhBRvkiBqXAuzXeumocg5qLE9JHYvHwTphkVslOWb
a6Rs2ZoiOdhUnADTDIB/hoqYZtAkFGcNNJuyOok3hZLv/dqYIYiJcM3kottQG/vN8Kty2UfqBZmR
8tzk6QtWJ/xBDSl+SaO09lLy/pMZ4EkNaHixQZDkO9678loEvXMaBn/r5W6CEjcEksA4u2qjqSJ5
7Qff39dj9hU5RnhIKCTsKIMu2a3NoIi7UGBNLqKh7Fc1IsufsIwRK0Dv8Vqbmih+SEOTWmJXQp95
zWitQtlxA/IvxCkPt1PfFdgmYcUVhHLqzWK8oALbCBP5UMuEokSKujQq9c5B0W2w+1y51PleSQsr
vLT7Kl2vv4xdUYd2FbTrlr2NLYC+KXY6SqT8p3SfUEJBvvAsoccmGsEdbnLQKjIBEkmKRzok/KKt
KVH6qsbP+VIYor6U05nvWpcCD/2D7tLGvuLFRkonDnUT4KbiwbDarxlSwhX3vWfU8Oh3kpM21E2f
oXqTCrIvqVGSZ2gLy8dCVKgpgFZdgbHJ4l6sBnMwjuN0AJrs/SzPnH7TJ+TL3DW7zb4UjGKkNnD1
XyN9wg9A8f5sojrYDw1Pd4GIKCihQ7FlrhWfJGN8k7RO9oBUolo7tdOcx6D1V7SAtIeU8YXizbyt
iqo4QI+4Q80Gl24Fq4KjA6XUta3M8Tw0HQpEAPzxKMYM0tOuNJ/r/Nq2HlAHwVhcoWudouBE2+7S
mHZnxQRD3Ctv3+yoPJkNfulZDmyBVfLf0lY4qBjlFBcUv3G3AFKZ274WWdhUNuh2iKLuLILZpGdM
rwzZhIHvWF8INha22ZIfQV08WVhDhBxRwYt0jBXEReqfLkhlCZ6Fb3GPO5RJVl28koltq7qHAD+l
TWYHcjN4wMqYfoDYAknsV9PjX21SpD9LcgJKEwIL+DFfCHLPb37i1GHTW/wRci9i3eRddQyG9kBT
5ASj2OAXMIxEWHJkAppqCJOqzX+YCbZZtMSahARuuQa9sDqMo+OdbOBIlgmV1mdXqhNiIAESldTC
I3vNTdJ8YYk3rmRgoiyXK/3Hkssf4FbgQYmsPXbEnFwLLtKDw2Io+RW9eijotH3xvK+pVcegZXRq
ayWd2BBUwXyBZNFVAKX7jQImt7DKQj2qwpVAmLfmui178YrwBBIk8GDTwjloquJqS14BB8C3ph/n
O3+kZGeNaXXE/2W2UWZHztRt6JLJSa5qSOlW2Uwdyxpw/IHR6NlzXX7xUXMuAzNVOnLhNEj3xkOX
nxgE+DbIIHcrDe6K8VkuiWTNTkO/BITNgRQJOohaAfrFRbAQ0DR9Ns2+fDRRYs2pO+/gtX0eOm4v
d0JY8WoMrPINRIwfyLoMl4aC2lE5yXc2PXO9jC7q3qhDZiMOizp8ZIcKVWoz9Fn5GNuSIl4p+DdC
W4h5CuuHgZRFYzL/pTFRPNSysrdAtfWyKh16KaYDCPZyYaf4okbEsFGgxeLWcmz9epVELb1oR0qJ
uwlSly7mPii7gd/i4cEyzaLdcm8gl+A2922ynKCqB1ANvRxflREnq6Cqy5MRIwAIfiDWz72TH2lK
f/Mzh56Yg/11wp9Gx2GhPdoQrKVgubfR3qeBdapBUAlH6GsDegJRfJpze1f2uTqjMp46s22pinKN
zTHb1tgpLF0i7FfInX5x2mH4ifzcCKQyFirYbbdGXix4R6uVROwbj8s8HvdGjge1a3jXAc+RramM
dJk3xHohaexvo8woIdJY4vdq5Z+BmcmXY8Cx4DJrdRwjoEcKx/PXKXEG6AFl1TowlX+sGiF6KCmJ
J6/yi63umw8WD3534YGNuJoP+BdWI1Ak5Pw14JIvSt9ln3qIui/7wnMuGU2wRQUWAnjuTeqMoAiA
kAB8D4Qgpd3Ixci6k2wdbAERoXoqkGdagJQ97HSfVThk0Y8dSMVGcEkd5v9ALgpVEMIuioPH2MEq
mdnmF9Mw1B7I03HvGmCaLCJoJzM1hSYaQ2IhmH02OMvfpJkAsA440ARcDhAAT/ZApfcQQHNImKHI
3ooAQ+8lDAnJuGBHsx7KHRtL/B5q01g2/mgjtUejR+XLx5jEJ3CjY9ScSg0EWDKxiay2uiKeBkoy
aqGAx9aBNk6wagKltn0hlUpPA+IaCIV07UtWV8EDzdxnfH/I84jSfhMd/HeGuD+pxcxUsAa7uGXT
IwGsCeLakDY8eujqb7pBksRcVb7Mlr7fjpcM0lgLx+oGMBOc8XLrg9rHxs4DYC8mF23AbgEaKQY0
YNBTyzQLTa/EAnhSTRuo3xyFyN/PcqfOVpCN9CDzhaI9yMPC53aKJxG+V7mJin14E55aD5KThglq
d2HR6KQP+BrQnQDTyoG2yMlrCV4ARXrtGhTwNCs8FrGC9a/WOEAcBZ/Mzms9/6r7uqDa2xkft1WK
OmSNC2aXyAmy8APU4MwSmiqNekDWybmYSnmhEyXxNcFdb5Sv8q2BrWVjxyPYaGoKIZyBYF32nuni
NQ3kJq1tcHFS960Hqe+U9N+VUyHRKlS9pgECtzXLfNTl5ViLTWdWBvmcW6du60PnPyDLq9YoG9Ot
EDZFiqIGE1Ia+VuUJdlvKCYwKaIY3Sc8762wS6P4CVgUtnLTNjoTE18Kln3B5goJeNECvD/VL9RN
fZDUBqrWo4gOgNcGkz34ZF/KpSFz++LwR+ZyEBtNAumVCB8wJBGgnGzSNt9FxJbgb1gGC+sR8QA3
8/IlGw3nqg9NAkogVltibcXme1/bCYGEjd3shrx1b37Ssh6Q0CNHFB+m6zqdcOK+5e47hkgLhYb1
s5UQ/ii5XKA2YvXs+v2KZqZxnRbqkeDWqwPE6hEBgujW9FBYMUyVTNeFXacttHZRAaOG/P8GEkw5
crHVtyBKK1QOkHKP3xrDjtkdrh6UNEJF83Hj0Sg4ZK3xKUmr7FGCIemKlj/HSrUonBOA9IQ6v3Vs
tM/UkV7YQ6MaT1g0UYUl2lg9QjNRFz14FUBVoG5FD2VKvlvjmL7GRdrumJkgI0Tj7JWALbNyJWdb
bQUjAtqdiVsDvQIrykxA5TYznszANR/x/gCMBd2D34O3mFQoVomN5sE3UMmq7j1n6zk8X0JFhIAx
lXEINgE9Bh44eSkQSkD9isBcIq4PqzKtTV3h9W5kvocQSwL9TsBEV3qsTft4U1u1WN3GCoDO8LZH
nG9yxgqPr6sRyHhtzXrE/lw1NrcmYFp4YanBRJE1OJcyR35zcCFnOF3XjLNy1QoExm5jhyFa+kho
b7Sz03f2sk2C6GbNCRfQtyia7W0sk0i89UgJ6T8hGxMjRIY126AYz9bzaX/uIX2/LthYH4PsAPQJ
ezZ42FumfDZQgem5aIdPYFHRU+WWw7bpQd40nEGeRQcJOtZT0IsMRm59nfWlGaGnduvqIVbw4CLZ
HJk1dG5T7JgBNE/2gQzkWc9RtiyH5knJNqiYHBZ+KbHEY/4S8On8EMcgfoP19q1EcOpLXSf2AigP
71xEXrplQ7DvurG4CC97EWYWv4KPbO9R1wKK13SIX9us69aItau1tgI8wEPkCCkKK8Naue1Twav+
EqMI8yfxhTdFvLWTylzW0muhGELaJQdvdcNTJDlR0wIySLRGdZBV6vm/n+bTqWsVKGf3weHDqVtY
9TpTCB/E3mMEEuYngj/vibqA8Q40/uTg23aNclR3mFqGJ91zGqtH3UI1YkiglvKbbrX4o0HfZg3S
rU3yaWyhHRQMyNHpWdNudNYRkCnLlBjOWUXm+8E1dr4h4/PcjQV/jWLD8Yt2mvtzV1irRCFTfGeo
4hQFCyOwBWZn7YJ4BPY60DGTvy4X9VOt5NayXsCHXzPZqbdgJNFy7ABqVlZpnkwb4S5gp5cBtF7A
f2+TkE1VUPQBdZXez3LHC/DzLvEO91H/RFutX2d5VdDV0INQcmfQztoqhRF/sILsg/IrRHJEJRB7
vc3KebDI+QjgngCpGAGWqbgc5MLeDymWCvt8Ouiz2TD7zYY7v3/gMk8/AhCfLfT88zjdnH3mK/0D
l7up5rF/eZd/ebX5DmaXu+m5Lut6Z7670jzNfDN308wu/+7z+Mtp/v5Kepi+S6tXzVok7HH+E3T/
3PzLS/yly2y4+yD+/VTzn3E31fyB/aur3d3Bvxr795/LX07193cKeYcWq0OnCiEQgqUdm36G+vA3
7Q8mpKIwChWQ30fd2sJFlWs9y619G/Bh2J9eQXfqqT6O0r1/6j9fdfYxkXceV7Pl40z/6/WxmcHW
W7opVufzFW+z3q4zX/dj7/963dsVP/4l+uodOBBeI/v1fNX5ru765ub9jf7lEG34cOvzFNqST//l
d33a8A/6/oHLv58KmHqxVKjws3BTxR/EkPirFoj4UDeTfpIMcEsO5A6swGh5odkE0dIIeGVvco6i
frylWFFOZu04qBiYOIBXjiCpo0Z3hZpNS22O+5WLQvcnYH7BoNNd/UjzQ0OxCqzt2t7YyvGXLpJK
IXh/IdIMgF5O5dpuxdx0XTdd0g2cPUh66lNvGDMjnAu92f77wLlrLgUXRU4KlWOef4kYN3YuJJ/D
siiyDXJSiEeZRfUIVObWbcruAWJL5aOB6MvRo91F27RXg1/umpJ2WIIWXj5qNztDKbEEwZa9drEj
E0ukEktTzKod8roChstNrcU80T+8uh30F9+zIwRR/+TKVEF5yY6+xqWDCFwZyNMIJJZaEGh/nHQb
xSaTcMjpu3k2uL9ciGvApRrgUsn3YXqsPmg/VEt9n8VrsmRduSDvWjUYLU6bIgugT/UBUUKIlM7t
D05ZEJyAvlSbD2OAPP3d/UMvxBXzIBwcU0KmDxr+KP1GHnqL+Q/6LEftir4vxemuHwsitsT6FN+h
uwFDlxz7LIZaw+9zaA99qLG9hQoU6Tdznz5Lcr/fggb5465fT1Lz4NDWI9lro+7yc7kuTCV3DfD2
wEwiT4hCTh4+Ij8sSUtv/dqo+/XZfAC8jhx0c9QCePo0QDIlatP3sXoYd1m0ZE7boeZZMawBAehD
lo42XUBfj18WjYUgCYoaGfjWAkKNsB0Z1imtuouMze7SWrW/9/vgWXfN/ZDfevaKLsBeA676UACO
vCYuih2raaTuu11DzzR36usEfqxu19EGsx4/F1XLN5qmq8+gA3V95+veUXchwkfrxc12O9ecXc3e
hSws0A7dkkKXM0EOd292jpND17wp+N5oDILzyDDb/zjvLKc1Q+0edW0/HDrLJouY98WSp847dzoz
BA0Q3QA7ej44NYdYJ6L5uuuDyz3zWtvjNAAd+4OrY0RSD9dEbMgXLBh0/lE4DTFr1wFRmucBOSQT
KAIVIs3figrqQFMljdkjIZYF0WBZhPbuDvSTFQCfr3WnP1ULBf/VQwBkWf3CBkHT6FCSGJmjKQKI
X8ojQxYVwpWQxdMHCLIXqCvX9TfRvFrrSU9+HbJhNz9ALeQKqicc0nE1v04KBWvWtekygdR7EgIp
WAIOUqRLGdH2WkvVXnWfNfUJkLpRcggx2rVua/PdPIOZnrmI4l1PuDz2ptcfqUSGeKHbKVToD4H9
UIlqKJc3A4JPwAMMvviaoLgNEvd2D/3luF7OM4gyfZ/rri+Z5ovsh7tuYjJjY9jDVfyqEvrhvfJe
RbSNxhAxBOvDG+b22kEK8HDz0e0PI28vGRmhanoM0FMIhh/0cQ1kTIucvUrwwjblVGxOH/JfZ0oX
lZvb2tzL7Dbirl83sYPuN0D+f+ZSBOMCgU+wpihIzIXLjNN8KCP+3nTjbiEAEzlqo+6/je3Bxgnj
sR1X8zBE1aNlXzdWeFO7dUE4BA1KQgzQdRgDCNhqVobP3xwlinjflb48lmmJjSnjzS4d82aXOXlg
PkoPsQNzCMpQ+7STY6apCooCGS2QdUMc8kF3BYldhViMSsiDcMssQmoT6BUP/rjFa846g8xqn/VZ
gTqg9sjEae63UbrtWNgetIvgSk2AahfWUHsbH7cNih865wPCevhLgPpeMgMi1jczcymkKn9dTXvz
6ZJDZSAlg6vNN5C0JT/23L1d7UN/mTdAx6Aunhzt3ZizZoM4tflERQGhSiMi322U80hEIb8GXSnD
FqT+S/TLlzn+eOcr/c8tLpM30FOOLaQABIc4Wk45wkllvHWg1yRv5oYwRCSBdHjvq0CsqoYGFXam
EbfBeh6ZTEG9JgkWfLK00DGzlnpGMiRb7XI/ZJob1FoG1XeM0NbKa5a57fsDOQOzXq4CDqFh/NeR
7yQBT8TKmi8JSaHr4fH83LQZav+imOHaA8/lWftquZb/9DX70UOaBtAHw26NhW/hlaQ5AxxVD0CG
ydCcYMSmA101bdVsA231AwAdtFWPrQTykCZ1XNqGEeYJXeTJF+1UTwrxekTgG+Cn5qa2NlMlKm0t
KlSVaV0AmrgFlV8qFm6U8zOESsDgmc5mw9yXTFYgOKwNScFW0H76IKHGfDOAu/F9RIZvlBJJ1HmA
vsTdTPoSCmonUITGxNp5vnY+3RTQV/zUANbk+G69IgpwPEaG9A08KJSDMd9ifABIFjJIDUthvTWe
BZBVrZ5UJcHPM7IcmfDYevNL00fy04xOcT6aKICIL+w0XM9admW7GxDv/WezRoMNbQzDQH0fLB53
ngy8jRX1YGYDn7WAflh/ZDaLX5N63MUNov1dkI7PVVOFwySMBv5c9WALlI2KJy+QFrF2Jqgxo600
sxv8KZhSW/WUYOXJo7Yy1/wwZalKJIoxR9BV35FSyJFhoBUQ9L54NCE4vhNBQtYodkU+GSN70O/h
2SMH8HNXM99bJ9yD6LILdSq5aEev2eh18pgy5+D6ZXi3VgapEivw0TSdg5e+W9/7tIXx9oNFDXj9
LG5LdSR8tk7Fn7KpfKOT51DRcfm+M6UhH341kRSNT/owlv4O5Oj6RAzUs8NE1ZZbAXvUBwqAR50B
i6db0LawT43bHZzeRQGYQhXDphCyx0MWA0b8/h/9Iu/Cqf7WpoIUHYrEdOa+7oR/0i7KjuQDCcbN
PMAmY7bFExSsej0AVGYv7CCffvO5XXfMznVVJbdJHMg7nhOFxKe+Cx8wfJRtj7yF9tUHoKbzJbBN
cu1O049GUIcDqiI8GfnSTFEXpRJcPqm4tUMmUfhW9w1A3B6BivpOJ71X3dVULqSCCvPkT10S6PR1
1hKsIqdmjU3fo+N91jbt7qbgkdIClJ3OjNy9KqI3aIfIA41jeVDRABS6PtUHPN4NA3UtfjncezW/
LNpHN6Oqi5uFbkPqjK1sb+xvc84+RZWqKJxH63m9Vr3fx20K3a4L/9mUbby5cyHcxBs1pi+J16KS
iqDuPugNBuzgaOJUH+a2tmtPbfYhlfXuqdtk9ryZtCsSEiq0YuiMaCc9hz6bL4naBIYT/unVtCf2
qAlUB4FMNG0+nH0IDC7TwcpWutnTBH29M5z7YPQXEhoU6ztDJPPvCfItu/v+atgndWEd2rLNCcqp
YJIheLJVLR9iO+4ATir8NcXO8gpR+3YRtaPc6aY+ZCJ4NN0+PepWk6bWVXjDskQBoXM1tagbx1cQ
M+chDVQ4TkJ420jxkYVUdFAZoMUXC/RvFkLjZcRPxIbYnx4+XXhwE7nmrABOqWlDwHvktfXN5AlE
AOAqoyd9cFLSAUHkRft86gs4gKrjaKC4y9REtl6cy9jeNy59H2D3gDB4KCSou0BFK1b+2EM2dvIH
9rY89pX/c/YHNRDwLoLqdpND0zcqjPtEbXVz7GoBMBphoW4aQe48lvWnIsvfrwZVpAbhS+LvnLzL
gLqpHARtgqluGbREU/xlabyExHp10n2s8gAintvuzgFRDlr9cIimQdpLN/XBYSQFjqaKl3eGuYna
Le468Qgwgp8cK0CdHOXEKJUSINk0QMfeA/Bx2Uk+rpGFh3R9wJKryYJFquriD1Y91kVJHu2bO0H8
pMeD3H8/XnskEKe9ecxX+HV9bZznACgYWr4AoVNI/a+9BBpeWYsSegsC8s4pMLoVmBkxhAQ8+a3t
0nifThjrhfYWhPmhSpzhog8dVFNPdcQha9+pS0lA8ijSqNjoe4LENEoyeO3x1gqQRuOGNywy/XH8
suq7K/7EmiMk9mGsmMbK6aMrzczbIlcdg+GUg3qT1e0ecEFoSwEA+zgkYc6mhP/UU5kp3ZOh/KlN
N6c2Equ8CdhqHhPLKl+oPn6fRxsgZvz/OM987eG/34/oRzN0PCiUNbnnHCtub/rU9nZd5GC9lfe9
c1QNpsHSK3eOOXHS/QAKMMpCOkfdJbX15qPdG5ByVlZHwSWZhmhPPbduGgOqRyybGIJPXdaole7U
5tsVtfsAEtIK5Kt2wQKWvT+lawWcz6J2HbVFTYwVqt8xN0RQw92zpvAA3cYzv4vxykOJCbSpfr5r
O2I5KljVTddt39c10cB2iPIZD/iBxOdA5MF6qDoHWse/95mTAfXvwMxp7Vt/CeUdFEueXFDB/HNv
e/VOj9ddeoCFr88S3xTIokzjtUH2RXAktjLWaTGAzyHrI7ASzXG0vPr4Z01t0C4KqtakHUGt/e++
eqacxV98AkW0ljzVhmOE+swFaOV2Vk59dW6g+N8v69/7oR6sAVQwgplBvrrTxtJNGzBeo2QAzE7r
ON2lD23Sxx/KcOeAFuSRA9m2Ij5ZfgzyGfLLrlsA4zy4DgDM6ZMzdUeFyPYKe+lQN70G1HtoJBkA
MI/Vq20hCI8oEARHJ2es6G9zjFjTXFI/eYpBVnrFIcPP1sU6BhUuSIF6b5uq9h95RFBNcm5Cd37X
xxA02Ric3qwxxMquKXG9IyTCh8sImRRPOeIAETR1iVwcODOggt0we+n3NR5eQ0qy4xi8D9Cj9CFw
8ttQ3dLjBy9LVz6gNMs6aHLEOoXaVBZzrjWIVitRI07meh5K6k19keF2YV0RfnPRBoUJFlBmK/e1
rX6I2LP2CA07V4ia7s00MU+W6AIWVq8KXLFrN5mU6IyTRYZt5/iUoZB2ofaZYf+8ebogawGd7lah
vuZ8M3kMre8USJcaGPaD7s872oUNSnxsblPNN6PN+gZTP7/dyDxd9WrRzN+VqR1DMAEbO2faTwbM
6LeA+oO3ZWBLv5g7LTUCd6v3i9odmG94QrT+5jNPMRvmvnkaVPtJFyN+p6h1P3xCCO0VhErjuauU
t6mEW2+7os2foeT31Qbw8dt/OgwMBS/aGGEZLQWkTPBkHAh5aTFAMyHOkjTFx6Y7NbWztmrnuamt
d2MrAnh6B4x1KIXnnIoMeKAhCj4D32pF+9iCXDpIPFD5amtDIUyTuifEdp2T9uZDt8xaRx6q7mde
ee4+gcTTAUxS/Fc1BupUghlatRARQy/qmA8HhIS0VU0u+kwfWg6S1M1y3yasc/ak/4aSZgS86MlP
T6fbCCIJUKGbfapiyLXHWV+ABo2DM1qJsR0aBOxHvEfC3mvK4Geeu8UBaOAaoU9WFAcORFSY+ZEV
6kE8yOmKCcGwtip9wz2hVjNY61KBAThVSJ+aUI1SZ5pEAkXI6bvVM/v2OqI0wAkEvFfsOqvPokjH
hVWx6FUIwJGsvlKvUcO8Be14+Rr5KDtYVTFFFQVuLAwPnF3hgNGEtAHdW6hOe+Npu2ka3ZqWlnqA
Ws2H5mzVvLp/OjbPYxb6ElvybmJ/OgLwGKdlFtYK1D+RSe0E6TOg2BVyhgcZNyvdNwByOS5v5mlI
0VfWqp1mcEHoWtH/Y+27mhvXmSh/EatIML9KVLKSZTnM+IU16RLMAUzgr9+Dpq/l8cz9trZqX1hE
owHKMkUC3afPMViz8hqt2oI+xVulKNv9ytLkWaDE4KL3NTsPeZ0tyF7kvRXkOmDkvgL1ovwZSzPj
SzjVLfQpAakDXCv9iuo2sRCRH56ABZweKq29kD1ieb3OQstGYAwXiUW77izAiVrwbL7EryZPxp/D
FEGuAI+1S1+10xbqJ/VWt/LoAdtBYOidwvkZv7IW/CfkCXozeXES0MK8razBN4nKJ2g6BqCwyFAD
9S4/T0aUGmQrKd3sCDSeey5qTVtqkY232ftZVCBUSrb4/ezWO58lY3nsCpBjxZFz4Vi97nAvmic6
oIjdOtlJCNVGKAcuPnVQUybhpapyb0e+Nw/wvCMSZgNz2mfRA8j9iqvRZMkq1AH7LwUKxxKtqpZ2
72Y/2jFZTpYcXyOoi62mJv3oIVSK5H96EE9UlsTLPOZQE400FHwUoNrcgN0mx69I0/k5JJ1l7ruB
rYMTbBZR5rQ5cW+ayxHqG7TY3vvgDO0CX3VQr595+NFkzVFqVYOiELWn+TBMzY0c8LgXzbFVUrus
R8DXrP3qQQKYuBs8ja3HqdKeEcGaPUwU/SxyCeIhJ0FJVIH8sKH41iEV9w2pZ2MPZt32ATyK8gTu
861Z4GMv9VKWa1uyISBfOph69g0UdsaeWnUXT6ip7Lfgcxf32Fwu+6lBWjKEmBsJ5bYCcbjSRHRk
Eq18clkRUAk06FGxHYacSkBVzh5zjYXnOPoRBYrLjBu9do1DKVdg3S8dVMqAFpcO3NH1O81WB2DN
czxFcApsrcVQUtB9z/FsRKZA9ZC7qmn/r9Migghkg3JY1L3WcrzE6nkNsi8bOZzMxrYehQvFryls
i/VN0nMC7hbqfjW0AqW7Jftn1U9yKRJz3GeSW4sJLBwBOVLHbSo6i1KxSd6n+uSWemfNN3IRb0C5
wpKgze2gbZ3i3q4ybDStNNk0rM0CwWLsNPUMhfOdDp1Rq/k+VLm/Zr0+QYoA+tSkXU221u+n5aiN
4kId/2nT1VhU+KE09eZDQ7JGDMtOjkZAiccbQfSctvyQx+RQL1qHw/BEWcu5e+aO/vN8Tm9aJiTp
Zs7pruycdV92T14cgPxyYbMxOw6y7/kq1VDq6RZ/NFNVZVwMiNBlfbuh1rtri+XmuVGHdzvNSC2y
k8e7P9ktJZD07k+XJFf/1alBwFQp1mo6lFXorETfTIubjc4Uf+aRlT5obMnH9sBLiHr9t3GtN6Ao
iDyHtIaU1pC6q7JOP/rcZmxBvLZBNuon9BKcu7q2T/P3QU2wXqEsGl/A7S9Clm12I5NXuMgCvA+d
m9TzyYaI77cwauqFwQZ9JVo82YhdoBLmTwDq+3MEaDEwrMaCOAhEVOcHywJPKHnRIDfqwb6gqMz/
HNSK9PiWKjFiA0rfVoFytyqV0JCCPPMirZzxSO0I8jjrXiKVSDZN+Xx0RNX1Ck8rdx5N3YgJG8gs
Iv4G7LUJ4qHkl4XM204rpHlPh6nt3cAdRLS62RqU1yGFqEeLvNAtbIsh1T4o4TA6IFoNvtUGMe9i
DMHgqITDuJOaEKN+JYcP5q431qCzzZdku82BmBxwT8J15zmowykM/8giLDXVpbr36wEFlK2nyRo+
d2DN8QOp1353m7z28TOorA43n8+2YFACJYwSbQWpYXMxWYk6a9c6iwICrxCHbC7KgUzkQIfE/Wgi
VzUQYGV7Hvj7XLfpf59Llu0XP06MO4/xhevY4oEOiVFC8d4Iuzddm7YEKRKbfGvX6Vn70Pe5f9/n
XMWooCUzRNBXDXV4z20ErpCLL4w3bxflOPcltjKfvW/XoxG6mp9s0hr9+xHzU6urjJc45y9jGruX
ccByr05NvqMmle74k7tHFZo4Ug1PnvjRJTH21CAnDmZ61DJaj7Gq+yE7vMNN2gM11dgoBlt2kM4L
DIFfDo0gH1Qgv13qNpW6lIsgLmS38WGMtuSXsEGdn5pDR+XVYcBlcl9ltvSwWEc6B8gCOP17nven
Zsrknkx0qMDqtIEoNgOZI9wQeQSXfAI/3QZ4INXc+q4ercSFkjBkt7e0lUjpFUendACHYxi0hmEs
aJtCNtqW0NnNdhvxyUYTWMj6LXSv7FYcBaCADIEv7ANpGIpF3V2jZ/uZTgzlrm+EYaVsVrbNQJHZ
Q1xwraF+ct2oBOmUVvkaZQbpulbZ1FuvjNiP0QCCBim9eIk6JXf1CSZPTeqtkHKce28weYLTI0vL
57GfOuapVG864U6GtiGiW6gigqbR81SBqSs0wOjv9Yb9HHbsFYJMxZk6u5YtQJLHHuu88R8k4xsy
8xxCfOaAOtyRxc7zWOpiV+hVGlCvHQltFfkJ8mjqAiG0j+cLzFOO7qcLIJn44QKxJ7w1qEyBekWZ
S3uwebpEE2EXauY2AH3SYMss7e9A4OkdulDGgbDj+HuNQo6Jgf8UQnDWemClA1KLMn0ateZCDgBQ
uiC7iMzzbSTkAfn32sAm2A+tL9mU22uIu+C2ssFan405+GEUZqVXYJfbgWwFhFdAb1tsbnY/boZ1
DaAk4lwQB/s0lJoagSnVWNTpQi/qfWL5kMS4mewuaqpFp/Qp6OCUHQJVdNokgGC16nDrJpucIh5M
AwJB1PF5inmeqkGiGFHowGSNc7gdhq4Xd30F6NK7PQIa6WCOINoL/j1FyWE/iQ8+ZRuPm7T1v/fR
WJ7AlcyOjbamBqihIfPsKOVmstf5huxkobNWjRlSwY5Y29zMEQQlwWmHJOtvk36Y72b/bdIIglh9
IWLPXTJUTqk9BW1A7NBzNuOYvpLpdvi0/0Ch8BeIfgFPq0YCX8bWcTIiWqyaN19XzVbz+HXeAVHv
vJ/p6yEAoMnbJ2ZeI6RTNFeRoYBP1yYUo+S1Cx7h2n2UDirTQVjzDyTsvCcDz0/E8IzwMCVNs2cm
gJDQLzKv+M6HBdda/afWnknnS42xa/Y2JjS08CCiGNLcaSlXxiCXMi+xK0ZE+7XF83nRg8Tl3Ige
dB56hN0Xz6dX4YL7AXyRcpkJcDm6gywDZFSSM6DH487xpLZhrigvnuHX2PmgDsv0QbesyMNkPNyP
vWBfPg0y2kYD26pVXtoGvAeeZO7OGnyZQ3UCC0jUBzXuOrUL8zltxlMmvexHaqaopMTq7QH8mg1q
TOHBNd18bob+RPGzv3m8z/GfHihi85YFqoADr0ufwEuR3xPQoVvpyG4921I0KADjjwSoKLnu3I3g
2JphDnllAuoJNYy1OYK9qgPf7qYyi35ZlhbUthUSIinieVIa3wY0qQRakiYlDAUKO9150s6Q3SqB
aAmgxVim6O5wH+l1cYC2AXYgECebmyRST7yxBkyInYBhRS13yK5MTaIXB5rifR4yQdBz6Saaga8Z
9P0OQI8ovALJR3SYHJaehRLS6zgvfnQciKnW91/lpIdBho3W7GG3er/gAOn4QNqtHZGggOo9ngo6
AHEuq8xAB2TkJMVPb0YbPNiQudSwdaHRSNrUCwbOB/VCjpygHCeE12Sen/MKXKKka97VyQhA1Z8d
jaNhL6E6IkTU5hFp7+MuVh1RUlkHZoKH+DgiVJWXQhfXt/jOYLr5ekSCmvTugrCX+rc2fYFSaP4D
kT59GftyOhnANx1QwA6KsDeHoo9XTaYBz6cl3ka23drWW3fvyNB2A4RL0nUBIkWgjKAxT92xxtx9
jL8H9EPQq8xQerfLGIrY6S8DzHplAv3/0o1g+rjZwY2zsrKUv/zF31F2FvslkI0CXGQl6D2ytMGv
VMUkqa17UbNA2tiGoB1iF35ljAvLyVtIxtbmi0DmpWkRhERw4MSbrloQyyZ4VkBppYHvkJqWY/3v
QbVhAZxXyCOCVCXob9VBA08l4IXQz2inf22qI4FMGRRhBsCedGclwW5cGV59SISUF64OxWivRFWC
3V216ADAvxULLDqVxc87/dwhV0wtUDqCjwPIPkgiR/ubKRmbfD/0+lcy0cHp/HLn6aydR4q44bui
sX9Boqfbg/sTMkbdmPYQBy27JYjQbeSYhgrxdmWkHvKks9md2laU/yoyXQdeJh0P2DIZq3rqhwVh
LY0B1TdYl6OH2uRDZ3QASxp4C9LDzQz6XgA4q657G9AISGzXk35OmQspI631XTyTNYZvrmvClawj
L0hSUz6KniOOavsXpgPLxccK7KGOoe2pcxp0HQWVEFqnXg/0T1uIVodL6vXwqjk60v2GymL5aIML
+go5gLJpmm5ZNtq5HsAtRp6ljersWhb6juZhDX46wh7kinqZ6IY7A/WuYMPEJwKOI7lPWHVH05IH
kJAg7NPqB2rFBYgoseWsDzQbYlYdSOxrCRotB3qjFvTwbKPHNmzi7ClEMSsSHjFooqBEuh1wI+9M
0OgeUZWNR3MTVY81yDEW+gBlthJfWoiATwS5IBHoUTJuu6gA4ELFVLGdNpZxzGuw4qGZs5KbC6AZ
0iNeSuBrqSwU22iWGyRtYiyzMP/NkbsQAQjrfK0XNVSAVQpOUym4UKXmMsSA/H5sT2SiTkeAwEb3
rWFNHtThdCByovFku01i2B0wunl3IrsutAGSNNDMQr2+cWi6uthWPLyEk2aB+osoraKcgcjKAEfq
FCY/crzLQa6ierjwcQotmHTtQDt4QUZwN8OdTmdXUFcWq65DWgry1IHvv/CyledbCEBqFsoCwljb
UuCAOmJhjRDCFk2AB6x5Tx0ZE8h5l8YLCDKyO7csCzz4fLax8s4/VS10DXI7hqBCOE1LvXGTl3bw
yoU75eG32qtPw4CA/GKcXits+PCtli0qSPr6V2rlz/aQFq+dhn8t6pflE/YDecCLTFy6vkRAwLKN
o8fHaSsjt7urdX+AKi/748rlaH28sq2urPHqVMkScZYye0XS/uOV+y59TqpcXyaF1Z+nuFiDxAxs
3JOlbaxSat/MAfe536UMZNiNtwLFv39AzX9/hzy6sTGHRL9PQWi2dEVdfbFF96JA2xj/D6iNkOmc
0m+aoekvUe+mAcOP/j7KQm2D+u3kLk4TcRzbZFrZ/lQ+ujwEYTS3jO8Q0nj7GAY+hhZG0ffORBDw
08eQk//Hx4gtr/ztYzRY2BxNrJOX3Yjfcz1AvgJJiPwRVLDlxWzxWFEty9dxAJavcGVxIhNWWyLw
hdltqEnD+QSsEjVbc5yHo67bFUs1FIUBqDEHKbI7WXHQm9y+hqWRX7DVAjChta/QE7CvfaSCMBBB
2pOtiSKF+lVcVyA5vgJhlF+c8G04JMGQT4xtRBOsTj90rfV2EOosBfzd0XqgS1XLifsJsZXMROBU
9YCcB6o9hr7TwVIZkK6DZSC6gBTIdAAbLDT19B9khroopGKUF+nUkFcxSXmoav2CdUu4jKsKfJhy
sJpDrxhU6MDavsf6GGTQMegfd7cOSCPAW3/3lmOzKttwC7nObmkifraj5F2WgvsKDBMeyFCBs6Ze
cF77O0r85WyCHK8HelknDFczcGAaOF+E4eBtythozID03g1lhKaCtyFhdxKLpzPqZWBxW7Sqt26B
nemGFqrrIAk7T9x8ZMRSq1rS0R+Jwpb6VOvWpzz1d8/fx0FgePaszMZEIRlgYeFgy1XagkOJloDz
apCMY1xBJ0QtFilVTofZ22pNVPkiNX87+FKTK1lh9TtwZ5tYmgmQQixfAewKqsxPX2TcVCj1g524
adPYB5NFnc12TyqGMS+Ur8p+8zeY9QvLtwHPMMReRsXYToc2ZagWGboY4TbYbr2R8svddgLYgXaL
RZbzU2TgxdW2AyotpDt+8f0wCkYzZ3eU3XHL+2mS4uWT1+AmKrd4l2EHf9HwT+tMB4kLL3atwCs4
EpxKmHUwxXipJf6llNboGfZslF4bTc29ZJZuXsGys9LwvoFmit0dtAz7NVKqYZmB5RzjKCJSOjaQ
fSkATediT71tZt9J0FY8RBG3aA4y95AWPfAcc9CUJuJgwCOl+SLnZQoFq45fK1nXoN8BUKk2Y34t
QdwPshZvOY1gn13WZg9NwzB017XlvPWm2FbTUDL9bbzyoE4XBXYrG5o0qB1o3LZSf4qYCczd0qoP
+FPEzFmu27w5UO+kMuPUi+w4nDn4zW+99GuiJnfZx7F/c6bfGp5q6WHYF7E7LgvH1x61SP5xJkf2
Zhvezz75aQm03EfRjBtRpOaejx5Id9RNCxzEg6xGebX71txXncygaoibswHdt4ndywc73czhv/5D
Ai7QqS8HR19VjosAEUhM9pPgbC9Z6wSQhDcXZLt1/K2JWAKrFzTu1m0WkxO0HArZnzoMNX+GN27Q
eiYkvjSDn+mQl9kj6lddIB7/NdEZeN38JTjls1VJeplkrBIB2hTHAwXa794xB9g9c77fzKaM4tsV
crd8u4JrA7ulWOP8JYt4tqIRN2dHy6/RkO80DSybqF5KFnU+JusWKp/QkvPYrp30+qSrTK/Gc3+v
d4AYqEwv3rTiQSDmBJmFGrqtyoM6cmHtDNSQzYNQXtwFAuJm0pjCE+RI24WW+dXXtkI60mY53+dh
X71Aj2y2NxIqRRAkslZ12tRfK6xVDaMsH8wiBFtRLoE0VvZeDUcFVHQbXkNy9Ro53TNELsoA2nvp
ddARbqEzsg3KJpWNzv7/+GklwguFDq7pceTG0jcn0O2rJ5q9mXrZfrEYl3upA7NM1jTLjeU44IlS
cRP6FatuAgm2DxEeDQR560YkxoaELibXPNlGqT+k+Zjex4L9JDN5ebGnbwrLkl+Ul+67GzMHHqbU
rCvWmsXesPEQQD7evpKt5DwYUeR4MW3TviYQag5coK435EEDLIlwpxKAvZJNDegdsLfOcQCPRTFA
fOkKrN38BXDpZhf2DVtxFfpyYbdb+6O9xLboVfn/zT5MGdRn63DBR96d0mLw1inry1VZ8PwJNIbm
FrqU/pKHbf408AZFy27kLjQfzWQKEZSoQI9JzoYJPp8+H07UmVbJ9JCChCzC0mmAzlaQRyV7ZN0Q
Xwa3HbZ96ng6wnBOe1fhZZktBiMKd5a5MWwh+p/UoZWgu9rnbGzvZnfI9kFvBiJUQE/VIJGZqvFk
xWX30gbOaA0vuiZaCE6N2YKaUdUphkkNMrCqF6qkFcQVUMpCzXyEgllkD1dkpv2L1zlHMuPbBUNR
BJB7lTaY0oMKWg4hmC31uoZ8DS3ZrtMM+7vb6xbRkUwuYkRIoAXw4TVMb9vbyzccV6qo94MD9XFS
YEHnBJmX+V1NAxli0DHIkA4W2N2xhzSGda+ybHk3tg/xFK7bjkdnMnW6B71j3vykPjLdBt1svw9q
x6neG93wk/z/XwfFHdBiYHvAR+uEhzipO579JALUoxKDWX+XTbTXEqw2r0XYlo9FGv5jqFVX7Tbx
wsNi8gg6QXNuOr83qffmjIiVON6aQ4qKMyOL6sDXdqGlKotH05vu0Yqozrj/a8t0i2IxZE79AEgI
W9o5ZxePGXINWenmACK4/m4QEMvxXU+cEV82Aw2AiaephpCGLOvmu1fznTCAt12UgHODnwBCobn5
Hco7/IvDXLZMkW6bp+w1RfvoFm9TDhMAS91gv02JkvJDhHs3bsXwRStZD2pGnEnU4C2gczB8KQSu
SWeDsv3VrzQn0MT6ICxdjm3O16QNFiKscnRcUFzUIE5eUbPpGgiFQ5GTlMJIM6zKmXt8t5O0mIMA
Bl7GaYK14NErIBu8wIkV4v2zgFTHfPKx63/46AD83PVTbK6jzuwCPrnhLvZ9+cWFnHU3lNWzMMrk
mIEhejFC1+MLucVxqu3AEQydTctdVKz3t0nKwg1HsWKAwmRrFQ8V/tdVNnWBWWbQ/aC2bK0OtCKW
tRohKgRdUGdambq7AZbpZ2jLaEe89QBdtWc6e7ffTGSfbGP2J4p7MtkKMDLCjrdqtCM7majz/2r/
ND/u8Q+f5/f56XP6hOh4n3tg9tpHVdva0BwLN+S/hx5EtpJ1565IwfteDx5SF0XyvTHdMF0B2474
T9OBZEQNmH3MKYHQS+JCFSbBU/rPqW6W9+nm4QkofZ0xh0K4UkOwSlvdRaJa+oaXrclG2gkdmE9P
Q6YvzJ6BFxuvUtOKjB1So/qMGxu8zFrYwuuOLljmn+LafHsBJ9Wb2wwjU25+W3ZHsIY4T+m/blM7
/jHb7240vAwj/Isd3P3mhI0xFJjObWVDk96s3UssYusCtOeA+mHc6KV+yFowW5CnsMx26zimB65E
hk2J8m+mGFSHvAHXLflIzXYWjQCajiHHMvuoK4B92f5wBT2Y3bMhnA6gjbgnb5p29PHcMufkkC7G
u9EFasUKtXybQQfzWa+QkgjdMDpSE1R/myZv46sGRbprLs1AqhrXNDMZqp5EuaDmNBnmFmTM+tyb
jRxAmLEottRLU3IIbhypqaaUGTj5aMoC9DpZF7VHOwpBi6L5CFbwJaO4iTqIJgdMHHJwB4qldFE1
QRMvjtbUNFI+7JkOzaK+5sVjhLzR1crmUAo5NDUon2/Dhaj1pe92K6M1oVIYJf5lrFGqxpRaaDX0
oJ1wWwCNux7sD396DF67b0a86j95ADmFsLhKefxlDhf792CMTejDY82SsxWQOAipOKaF46Ro9/tE
WxOR/myb+0GqD5L9ugELrF1oxsauLWQlGFhNkQerDy41kTKZm4SwIUwNH+zZdMPUvA8itA55vZuo
Ra7vAxnKEQ48Qil1wspzl6V7yA+6V0CD3avL2DPKuJojSGJdSJbX3grx7XFFna2r+UeJkFWrOslU
FNmpdDMGVlqMTmM7WaGkvlnTcE8XBnaizfd5tBoEKY0N4P3xPZl0r8eiCsTPG/oEY+91ew494AX1
0hwMObhCZ/2FTEOloYJocNMtfQSoa9d3NnN0AED+/UQg/YHql/ZAllbPofo0fQ+TuN9RAE6AIHcz
1V01B/CG2GxPeNFeqJNuMmRjIfqe8AvdYDxtUfbx+3CRV1XAHQb65iL1djHeA8DuervWr/NHmyXF
Y451kjmm4zmqTdzjNrOWNuNiS51ASE9bE0QJSxrwPhzPqxwkrtJdeU6ZnEzzSqAJhpdQAEjvBPYd
8N2nNZLKzTDG30GD+83poO8DohF/l3OoMbpZZrxiIPXTQFlpXmAnAM0UgaYnbGcrCL6h1XKLtLih
oBfigrywvQirJlt7YC0YIIP0pUtjE2ynGTIYmVKSUlIuyg5kLftg/90fOcMj8xve7VC6PALCmgKp
oCJ/n2KAlRtXSzNGQuPW8SFY2FAk0B3AqlnEeIb3fQkujSG8QMUrvDgGsixYHvubHjK2F3AEIObv
oPRr8PwDebAwMe7H7tskbTtZZj53FH34r9AdnGRpK3bgRk1JvjQHTWnXDTT71BXqniF420G9O+xR
9KZ2dnguOZDxi9odNRumBxyssE8xdh5YtvzpRq+K3oaCtp+3f3Wr1WwEZH53U/uYeTay00W1zhK3
i9JsXQ9G5T4dAJyAMNmmndJ0D12wbJ8bmrWRQCGc+VACxl4a3rULEbqumV1+ZTH/GvOh+lUn0LtL
3ZEvzBEQ6IaXvzq//io1XnzN6yKBNE7qXiXDj7nSeHaGQMXbVWpj/HgVx4qTFfJgDeiPX2tTf2ON
gdL0sAdmizhiPpihDTnTyvzNRoMUBYcXGZDY8L1VhtjbFSIx5Z2NlA2EeWzrSrZIfGkHq38YDLwO
fBuyw80ELqybP6SvAGkUOlapjdFc5sNL304QLS2te1uOzp2pFqsOsBtrI5UJ0tiTOCPZPgLt+rtx
Fo8no6k8k5V1NwrP+1mm+kEHy8ntxHWM2eL/e/KbT5n48jlu61daI9NqmRbKsofYvAj1HdkH3ztz
0wP2IZu+dhFkB27hXQoDK7vFIHZuOdGaKg/k8FxFUKqAVIQRxMgzQnIumU5mKPQlOdj+c9rW1pIX
KFZvRJQtxaRH6ym2rZMGxO18MHzGD76wVn0eIrxFHeQyQG5pWeBHtiZbj/q/QLfjCMJ0nTj3A+hC
Wjsd12Uh8P3VpYYApJB3WDTKL2DPdSFRaWt3nWoytq790X2pQF6ztz2o93GlHW3kk7vsBCj8J1cr
wIRV/aqkqb2qEy+t3k4M8OOmAoIgtoHsYmFkxnPttW3AO2GdBwPaAmkT53dIGIDRIZz8VcWgipAY
YbHMKpDvREqerlBnnQe0N4A8aOsGkn7JqBur//YhRzokCdhOuPK+TUZnPP9WFK2P7ZZ5oC1nX/Lp
nmnTgWTI0oTJe9VHO0zqaxjuFrU5fe/7X+PAhwKW+9F6bSDLsADxEb9yM/TW0gPGZgCN4ZElfrzq
amE8l1r3LS9HqJnH4MHDqu4H6J7NxagGaezfQQDfjkcU9CRg1tT052kc50GQVZ0HNSUCWoCbaGGf
7uPa1pbZNCRLxJzSfRSOIGmnnjZM5NspdU2pjgCKnU935ogEWqHKKksNheCxAeF1aIHFBz8Eg4aW
i+ZBs5JqWVaCv8p8OLs2ar0W/fCtF177CyVT/3DP9p7dzAQPszda59TVU+g+CX6Hb7Y6ptJkK2F5
7pUl4iUOo82k8kd0GErpA1vDUTdO7cxEuji1xzuDMlAffN67ucflHbVaHYrzrfSnDUGCyhE65X2D
iN6MEFLwIVCy/N0mHDBQkCg1OZPf+D6WUEc0H/n953x2gzW6l7YH8G+gPEV3teAWYekt/REs6cDc
qCBNYQEUWNoOqMoUOlodaFAIbafVzTYl/snQXmtsu+9iz6+wS9a1Ed9hFMzNccidsxzyBJW7sY9w
AYiTYnWgDjDZhQvTLvjmgzdWy0Ejs/54c7ZdReydVtcPbhByj1ejnTfgAn8BQYx/FGVlm4sW8YCd
b4YvFWPhSQrsWwLA79eOCQay2QU1V9MiiUMNTxeZB8ATQdTg9nwaWVaBzHpFD6aW7JbsrFORtXkw
KGfqCTNk4Ba6AEAwEbPzp4cfzZ4z0wDZIsrSFduho+gRI1agLpNOdSI+vHWRcTASC6g+YDPUENLA
++DHe6PkATnasYHyILNyzR2zhtk2z2DKattAps3ii7zKITdhGNZ9nE711o7bbFeYtjxPEIKERlxS
fx0h9+hqkfbLG+qtUzL3tXXzcUmDciept0NmgHnE7+TZxJTzoFx3jvREsIp2ixiRMw8KgWu79xO5
YlDoW+SqUsFRlQp0qMZ6iaCVfzStwQCuRm3twbXBQX+F0gMQMr75YdcE5hJR1cCbI+SzeB+sl/Gw
gT4a5I2RzjkDMzye83Soj8yBQr1guQPxHVCg6HEj70pfv1DLUSY6A29Jtu0cVZ6ghtIk1FFoUbrW
K8Dv3LAp3mbxs6wNWIdIamx4YbwqLGw0x5SBkPB2KeSW8GmAoNnSbKNMtmGSiJMAqcLK84Z4Rb+o
Uv2s9Li4QsmNHajVhH57LOoOvH/oo4Nf68PKAeJilZT+mw2Vq5ew1Lz5t4iq2uJYTeaZ/OmnCPJ4
sYr4UK9uEw2huDchW3ykeRAcBv2GdBMEmUCpUin+KyON/xFD4t7bPcS7RQjWerILx3aXRmOwfRMV
4xNL+KaVnvE1GwwoWReN3JBbihR6ZmBj30w9u/uvaSemVQtnAA0XTZuHQ3FnEiyw0Tpzi6rBcJXb
U7smFjJqJoitf2hy1STKMr2pw9WtNxwQlNCLfyK8Fp56aArdiRR/JTUtjmh56XgoRFC9ia04InkF
XKJq6gmwh0LR9FMTKYP4mFZtOjcjOejHqNJ+zTMh43FKouIbtSJh26e+1Z/daZqe2kK0Zw06YtTH
DZPfN5l/or4RyMX7RprgDMAVwahRX7DA2oYgWHmKtUkDpkiuqS/vmfHggDCQxnV211xlGy+pr5qi
+NHJ/6lw522GBFj3Liz665AXKWi5sn7vKHInwIbNbcKsClo64IuaXVBNU5u2faFWUmQMGMDYWFOz
N4DhLlL/RC0aVGCBvkCAoN9Tk6Z0ve7ipsmjVLQnWd+kD5qK2hYVtzZYYPSQu+HVbkTt/olckJTh
J2hQ7G4D2lzoGxQCAEGhJqFDl8diniTK635nArq8AMOEj1R25SyS2geaubIsbcE0m0NkS/iB1U3h
fZWV4T2qJbNtDHmjhU4+NUOZXVF1J+qlAznLu8KPnPvZKW3wcGlwD8zzpj6YknQ7jba3QbdrFeoy
RgIKWz8t7AAFV8CQ+JHO9ja+nPe1QD7EQGtT+8Pbf4xltupcBMGrVt8kXdZvHVQLXSNu/+TJlP8o
dB+ZA7d8ykGX9jeHtHGffFlWswNevP22kth0qRkybJYeXPDILGIHmvaFEVVHN9PMFybWU5jHL1U9
1qcxjoDTVuauGPgmBXB8jWSU+XIb9NbEaj1BJGuayv38ZhyZj99IzEuU90Ee6cOhCwF4472Eyi86
GvVupTPIvLsnbHhic/QDsviMYZ2TluUmzAqo4dmWD1nXTKxswZInkWMpGLdR+7NErEpjlvWPQBqr
cmXy1W4R1MiAz8ZOu8P2EMvvO6NqUGynhocQu5mHT57ePCHl0a+SDKv9RmEhHIWPEI2F16Xbnajl
6mBTmNpULA1pAN+hejtveOuNIpTL13YJxJQa+j7e98ZirftgMI1BYY1YAArhe1WjkpmgVcEP5Iq8
vQeuKOwFepfpr93wSP0huN0CZvrTngZmamBLxS3T+FhnsbxzVVlF3XrFyVZn1IycEL/TsD8YE7S2
wcIBfsa6HA7kRh6TFpWbtgNZ7A7go27p2XmNjKfU5tqAMEvKRWzow73Re9UJ2BcNaFakTp2hKnF/
Vkqc9N8RZpT6FxACgsM8s364whN7ejl1TeyfIIO2aTne9MuGRf0aTHrN/2Hty3rk5pEt/0qjn0cY
baSkwdx5yH2vylpdfhFcLls7tVKU9OvnKFRfqezP3Y0LXMAgxGCQmZXOlMiIE+es5q3eOIGrtDmS
SYGmb6O7FkDSCI/WMe+++mmxB/GO9sNgxgnCpcNLDWaBpYN6/xvwZmk7JvV2h/JSoDbHSQ5D3WKs
l/uhC/ObwbfFIulFeE7HqtQkAjxaQRJo6n3YWc1EvcpUdhAWuBRnkhnAQqHro0kH7Kq6ONBAiq/X
Ok9t5PhNH0quUu/PJRjSnuXPQhnyOTC7ABy5YEXzSs96rsH/tYkN1W3ICayt73NMXtrPxnc7SHeq
FNFVllZ4b2YWgPGpDvqqKo7u0zqvTrjjvNDgEIbFGRTVZ9Hx9GT1SbqCMi4EFseuJ/EEXNAlNb4W
4xY2jvRdghEHwp2jUA9fk7Flr4DEpVe7d8pLCvzoomk9/UtYddoqL02xp26CjAXUMdVjYoxHMOBs
FyGYYb74cdkBW6G7eyd04yOqTvkS26GFTOr6aciC8KxrvQcCXcAAICTbrLTcDQ752B3d6tFND8rw
jHglNNGCCskwoLBWoLIJD9T9cDPG1QAWAzcagQqG6hWVHWDYKvJvHkdMfYyYx3qlgLSS7qXzRH5C
RRxffXggJYESgFipJR89/AaU8uQBTaL8W1C+r0EeGhTnwEUEjmTckPS7Bsm09VCiBqTLS+MOpfTG
XVp7mwpRyhvyyKLYAuLA6xaIToFn14n5sMDdpt+Ts22hJrvuK2CuMJVmVOOaCEdWaztXQ7YsuLbp
WvZiQlNrn4COadGMzDBs8IsjdSFSYz0yWb93g66PNhFKlVddWfNdISAYRmd1jr96V+cqWtFBnkap
S6f12dlulH9EUCdeUFarsRtQBcei3USVqwGknMlDbVvuUQdqa8qOJT4ouTpkWGkC2Sl1VvVdtO2B
AZpWmif8viYiRVAlXCUhtj1mCqBbmLXJrZfgidYNzrX0BUzAEBw70/06m9qYQxLBztQyaFIZL50w
q1ex1iSbqV8Ew8hZHln7qW/4ePiWubjQEnnGk9u+kzgfjpOBt5vWT1FiC5K67pBGxyxQyQm7nfdm
cGOAfX7vh3nRHrPqSHaa0fieBRpVnahmrIszgs2H1odgsINaSsvXzAXZ2DiA//58KQCKWs80IHSF
MDrSqEDahVF2P7CePXQ1YDJ9dCNrjT2QxdKGPegj5G09mlpLLxdxIZ0jeQhkJFZVDSW0Sqs4dlQo
laxLcEjR1BBSsgcUY3kL6qIk1rj8h1dyrFLeRoC4VMjCezJlqJQeyuzYjE3UWejLPsyAGRqyI13R
cG7LDuTEVgfexo85AbnTOHkWQwE+n98vaVyr2nINKa1oa6dBsiLd8H02VocV+J6szEpXZwkA/pml
abJKddM6djz/UfuJPBlKvjdBbMsT2bgLfj1mp0caHEYPCbYGxNE+XGikQwUdKJ3Bq5Zp1zlNNbRO
eNT78qX+qCy3kWYgE6WpqNEaUFSOXtQjV5o4hM00ccpo/bXWvPyva5H94xXntcy/XpFWNoWwjqjF
xu0TN6MyQeUtIXjdjy6OO+Zj3OC2Mo9iO/G5S6NIiIepWZ1tpqlzZ9b+Ho+2Q2PGQOyQbbp0AVDZ
x4ZxIBs1gheoZx4blBmApPQ5bHCCAG9X7fSPGuD3bqw9F02ZvwrLfXbxRXgFFfR0ATzpdPHLkO53
zhOkMg7jsBhn/ocl/sd9IAGGKi/wd6+ZZOxUdtxeENFDFqbhpoJO7cQOYTlQdikKnV0a/MlPpvsQ
Dab1/KdJvmtWEzvE3yd1cWE9B5YdnZRA8aXMtO6WmiZyUmhlLmfLgEDcLY/GDXkSjqKv+shmKQpj
a0Q4o3Jl9J+mpnKp+WXuT0u2Brg69G4MSoyvMMb0bks/NLaJDyJYstnIUC6qxhGgBhXFukVN/d53
6vSp14atKE2AWke7biXebFdB/m53wNi2L4Gve2I5zpAf9tn/V3teon6NsldT4mvMXoHyEprM/ZQs
K0Fbe5Je9TDnz9LWLLctc7vlnD9TSGEiChu5mzkpJu3gJQ3s7kimyR4ucx8VZZRzGzQ/OYVW8TC/
tMQNZ1uWYb+cl6n89vPSNNAb6bQ0LaSDyvlWcnM5GKgQrPmAwGAKSMolLThfalWdoQ6g8y/TCO5Q
/R51LY/ZaCO/yvShoAgEyZZWmObSAh+rKLD7oKBpXPSjwfZ0Wmk2zWuWUbLF88Y50iBwYHcxS+Wp
RRn/qssc7LjHjcy088CDr+htpGZHkwue6V2e9qDqGru0XWEiQK5N+cmRbNwFwQFA4Tc0OLmN63Kk
wjezTZg/52W13v28LE3yNASzYlUnOEdhG0TLtmC0pkFqmo9l/RpHhb7ArqprNLYvGuzsaD/jBsBB
UJf2M9TlbqtQiITUxNylUdSy4feSnNwAp54WFcRbvxu+eQ2ORIGjtycQimOPR31nNNIVNZEvIBGb
VFua6oNlHY+NcQr15xX8HAT/Vlvd/WafVv70In3qRQvHFWqDEEe775zg3rRb/asDIVbPZ9H3TMbt
supi9wLB3+YEGg+UE/a5980oz+TAoEq8zB1wypddUZwFdERWNMC3FjSmXqHsXK54qaKzFwbZJRyA
PUBqK/rOzYe2MIZvForSV9CxFeO22d8iRYzYQw3hTjxz+6+ZbteLKLGCWyG4faEBHAFQWzEOaCix
mwYKDfzLvok6iq48OEYIakU2QqC6Wt2RTTUMKLu+7e9KRAY3VqCpGz8NzRuj0q/1uKmNkUqinmq0
cKOBMR+KwBB5DBzHPCCqsqeilrnQhbpQd2YHkJ9Pg+RPdmp6pJYOLOK73+3jsmCH1g650ew++Y92
eoFk0MIjCnKmwd+mo3oX+WNdTW9vrrchN0AixXEo0u28rAlM/Tl21bLU6u7MORI6HTD5N62PxzUK
zaK7OvEA+82h2NBVnlgatlE8O3WFMj5VpV9dFygApcR3LwF5kuDyp7TFKkkyB/qhd0gGxTilpPWy
8Cz/J1JngHGnyWsXvaFGr3y0pezXIW6Np1IX+dFAdnUzuDY2lSAfWASZ23y3zGCpDWn2ExzcT5L1
9rOndQjuI/J+4Zqu73MbpfsOzmTXWLjtUjW68bW3273iRvpTd4aD7L3yK0CbEOgC+6Ej60Wo2uFe
N0W89e0yOZROndzYbhisDK9VX4Gk3/ZFkv7Q+/CLTOP+qVVdj9OnIU6eIe0Tftn52mmd/NmRCAeO
rlYz7CPHDY9lFbFlEcQSFNisPkauMdw3tXEPng72FRrNUHPy7eYE/bDiDjRtr2THH4OoTFuqswBt
3bWqQwCpI3eleSiuAwFmcNEyEZ1LI8Rh37La14qteRyJ7wDXQCZrdDBr3m9RQxmuYzMRtyh+Ebe5
jwIvBBwKxOtZdmtAe81dFBne8ZDekAk1XBoy08qzwkWn5btAa+KNGkEf+K/WrqabRguEjdXBGp97
04CPaoHBz2+pF3I/P2dmeJ4npTme+n0YgcTzYyGBhPEKP6Z4oxFEBBvq94XJxwmNepG51XciextG
Ps4ikf2xyRaCjZRvE/Hb1JIPNZ/6RRcMxxpYV2m4B0jYLBgHi0eeWpcJszBAGgPBgXhDGIdAmPUZ
BRpPNEgmHhpn02rf/Wsg3JEmC9hRq1y2JDoKO6++5JFt3JkImp3+YG9L8dkem80Xltbv/iUAQEti
r8D35ovnx+ZdF6CaaopkCb+t3/ldkQQ5ORzcoIRJoFK1DPwLTdWAe8K3b/HB5I8tJJl2DUq4N01v
GV8G3HgD6YSveISBPqVOtFMv2XADlWoXRBkoSB5nIqebP3bjzDpHYCjgxTSTHJiPIjCaaQFRcSNj
iI47f82k19QdQBRpJgtd/UsN8BE5YKeH2otgnQWVfQeEeLzBf4Z3UkkEvmGIV++s2iqQFwgtqIVL
HXrUFuhVLTP5DumiTV84Q4CaxHANji7je2yjshCI2fiJDbpaeaYyb3IVaNt2aJsDL5v+hDw7xMed
vLwrcZtHeV4rXrCNePATgHsX4d0gKzCGFU4xqorYL7Wmi+Wf3tsgrb+9t6DQP723SNMgsjvWflHp
VtjV2bK2wuYwFWeNXaDmmwOVfdWmdoc6knpfqCRRC0RWQSFH4Tq3csq1FYExYDJypG3XbhdqC6Sx
BU6tjbPpIGa2DDsfnzoZ6zzCMzpgp2FU8erGRkjd2dQBxM6dottanSMOGiAhZ8Vld6YramScg6HM
53w1D5Sl/xrVur/IKqfbWHFg7V2nCO/cfixp60H1C+TJCSWexTN59LZlIr9pPaL6Ry2hxx4cOtxK
rDmt/ynGP12S0wAnSgE4ccQ2qgtx7AcbXY/gLnNc1KD46bocYcW1VTcLowEysAUs6IEzQKTtZPhC
br4OmlNWFIjAtThrRFHTXJrRrQ1QyzdO/5Nbh1/+VgCKCBkrRz5WWbZFKTfyevjlbUwWDtts7Kq0
WMbQDXlORKkfEpNDdlwb9BeddT/62HNvkWjubsCmjYr10d8yPL6spYPM1bhsJsWW/PvYeV82R9x4
N2SobAe1Nhh2Ny4wY0tkF6M9HW2pW+hxvJ8OvuMoKjaiT13EMqN9XOrIRJeoLnUJuBpErF0YRsvW
nvD0EyO0Kx4SLd+gPOP2/RWhTnMMGsRp0sFsTigyAb1EBqLqEwQ6fXMTFCgqz51ObWicGs2JvsW8
MLedMCVqWNBEImjPeV3mKOVPGRhkXN4tyBjl9buPxaVcFnWN7O/oTQPSCTrwX0JpISmQvIXWujxL
5QNMCH2pZZNDolElQPMjdY9L7LyaDRjfmoWL0GS3IGM1jtCVC6TMPi+dm9leGCaoP6ZRaa2MAkDD
DjsDhsf4saYfGn5C4blJbPzm6DJ07wsrjaFwhrg5NchRpQoh3b/6DfiFBHj9yfJpJvWHJDKgWb6k
teY5EBJCKH5szMyx1naX8vQCerBmo4ML/FIYvnXW5aMxwr2oITNdDaGyljzuxTrCTsXBGcR3T0OQ
LcklIVvviQr6PaG9nleoIv0Rp5MQNH2uFAsNqmQHb2zoKkhYI8CkwGHEec5bk7UZKhvw3dGLOTaU
zut+Rz5ksln+12xacu6TD3XzPGP2ch7hhpOvDA5ByUohYaRE9N7EiEZWqJdHP+3cEoRDwY/JltII
ubPKyTdtpv2kCOSnIGUSRVD5CUGe3gDNfsLZ8XM087fgJk12WfCoRdoTUNDW2dTAD6issIdSfB+f
yz4V4F6S2hVFaOaybEITMZ40WIAxUrx1QbIGSFEA+xFBuIb54Q8Zl695wJsvVY+8vcZD/Q4bHhfc
k7WO/8c82eOh1YIFp0I1v5OsOR6u+D0wgc8iVv1putQsqR2MCnsqkZSoJBpHqOEKyKwetHgdToNN
ZKJoD3QYLwBeXiHWWd27Q+GdUCxYLcmuSZAv5lVY3iS+Ndx6rMP+ZZwQgisAGaOcHW3UFz+4OeR0
lS4eg3yoFh0Y+U7U9ErLTvrYzDbqSiXrJUvNTT4AEK5Efa55kD96QMHe1a6/1M0qBK5lVXGRPrKu
yR8ReQW8sZB35Bjk6QUoKfeGelVcvXWi7KdFoFcHWtU0xO9wXDMfD7S4Eak9ddOBDStggewtdRu3
QHoQAe4NdfvIr3Eaq9yVNb4ouEKjPbIb1pJGkYnXDmUOegsadXkbnZsGO1Qa1TuzukHI4EqD2LpG
i4L1+i7TNGsA23JSoSCjOjTYHCCUlCX+Gd8t/0xXmiq+gC9b7UwjZ8PCLP0WAfgeTPBGhoNhBmXm
8YqaAKoABz9CM3f/5DdPoxnkQtPm7n9/qfklf1vqt3cwv8ZvfjTg1EruW+PeDyGyrEElJF/Q5dyA
+IOtcqvoFhBKSI/zgBOBkr7Ms7+mUH8edscV5y5d/f4CaYOMpOGA5fDfLxOWH2+MXoXeyWScX5WM
vCrtfMFt4zrICGe38U3MU6g7udAlTSmK+BnKm+Ves6L8toE0JEMq6CRGxk5qip4BBaL5xbI3rXeb
oqs42WgQNTr34y8A2GhZbyqZoFbiYy7NyGOg5TrHPM/2QUft9pDiTkSvOg/0oNdRXCUX4YbYmcuw
5eukiLzl9IofCyNKhcJtcHgreu1UCpySSyNeTUvR5FC+pI4Kb6alUmkU6zDSysnF07yLBRKiLRgm
5IFLXR6mKydt36/+YCOXzrWdFD9szKNGfFzNNj4uM69KA7OtBEvoMrbxiwe9m3dXtA64qUIwqVPX
Z4l3J01IaKvEvAlHjxLyaruwYe2SBkvb9e5yxFuyUunnaZKSUApEEQ8iX4CIClmLG9eyLqBJKd+K
gV00rhdvtnQuoYMLAYvrx/XJiVJwM3m6v3eq7pEA6QRDD0YsOiIBk302kQfZs3K4QZX5Qu9xIEhZ
fAsCPfsaR7FzwQ1pTT1qtAFszqnVvLV9kCDT1wCRV3hlvXS5DxYDJwuOVWqP5/mSvzQfV0lsvNvo
qk1t/hKGfbrQ88x5mUaDrW5494mUyZUxllzBe81PdTMcyQRxiOTaAIh/4+NeBtW8LliSW9teQ5Ax
3ZIXNU1V7xIrV2fqdVGcXCuRP+eOAJPGuDKZuhqcFVwzg/1sa3OrWrqxnmzJhQZSmaHoIkcRD9lo
zbCEnGjQ2MlqftXAkdY26cBAPa8XWKm5d4wOeC3DxRuO88E92ry50jT6k4CLKKFUWnxa3ShBwxtP
b2H+ExKcKBXYvy6zSfjVbec54Wl+Z9Lxo4UBmkTUpOIDI9+aV/5C07jz6a8qTR8wUhN0VeRCjTeA
A6Q2amP6q2hRp/Ugupdlcjm/rN4Id6eVwK3Pf2lbtdpBd9WX+YNDgBS8/zLdz++uE8y7yYMXWmv6
P/S6Yoy69jdTdyjsAxg21FhMo/aOCZEELc+6b3HdPJhpljzEkGw8OLoOhO5oh56dpeXNZcA+HOBP
t940oDLau1lhP0oQ3ZGTzk1j2XC9OkcW01Yay7OFhADffdsZT6rpxVmNPV54wwZYETAnl55xX/Gu
unVBetW4iXFPptYAtVeQBdGRbF0bFLssyvXlNIGZwX1nbHwpDTBxAqKHfXUb72lxcOImB0RFjAV1
aYKHL4vGje5KpnZAKDHt2mpLi6PaJDvFlvhBg/R2tcg4IoUb3Eyv3lgKaLOIr2kx10nURbeLC/lT
48XxtzxxjBP1OmwPt75jtqATwR80aF1wBVJlRYNkyiGRubArvztQNxkKa+dECNaRC70Fhco4fbgn
g+ZA48UrB31HbwC0HvohkB2OkjhTqehZj6z2OtiOvC0G9eYrz/sCafd+DUXAfhd06IZSW4F0CxjN
2PNORZVBgQ8V1F/AU2iDEjdrjkUbAbpmXidzCwU+WZbgC0GMZvl+4gaF2m7C6c3Y/ASpj2MrisUn
oJ4V1xATN6w7DW+7CPxnyl8HuniVtcwfCiTZdrKGxA+itN7D6ECpbewBX+36q4Yg52vMAIBMlP0z
sdKbJu3NFxk3PfRATXHlVtRu3dLsDn7JE8QpEh2sgXb3kPRQxhUQ6Pw+TodGqf0zwnQnQzAYX1F/
41spvhqpjpKEsY48cjUwWxgJis/SsHuCRgW4nGGf3dRYfZ56DtKICKhNbhy19+SG6oj31frRbV4t
ir/7RHQAyeMeNN8o79AWWf+WOSHQpZ75DNnhEqBEI9vVXZM8la19cgojfEU9T7osAI++SMfUz7nR
I7Vm9dHrx0yVQoyCZuY8AGzbsvSVFsdIEAUifaIrEfBkulJ/sP3JL9ANHffNIv2UZ9O41R/BDLb7
lNWbcmysv9fYwPeUXptGHWTJ1kwrUWbykaMjZ1olLesd2bs4XYgBid1L0RbFloN+4NnMionPiqeu
sU4st9oDhQRx3jSf+Kywl4Y9bkCgbXra0+jvIk6GKjXAFFifg0fZLJS5HrHzy5B74MEuw+Rf9NUy
lgs/kv7RSyA7AqhMkl+ygSHhYqgVDSBPmF8iaAhaq3joVsBQ+cfZze9ZuOmD1Fl2Nqo5FYAaR5m1
7UOoTLEGS1m3mboDiNhsXuEtmU77IJUxgMA1PdEgNcoBYRiKuq7Uo9W6xHhfzTbU+2qBpQWbVooG
ES/XTBbEmQX5oZNyjepCvVpP613sZdWSutQgyAtizqC+2KUHwOboUYNAbGmPUiJk+8Mak8c44dc1
/vQqVgnt16IF92TY28W9lhhH4mbwoU66S1Brte7GHwU0+qIxFq1uSoh239tqOOoQf13j5ugcwzoI
l4072Kc6ya0nHXTpE22dFPkBLJTFKgBq7gu5+Wlpnww92Lpm3qKonr/SL6auIVxRImZxbXS9OTZB
6670IIleZXbOS8v72iagXR2aITroWSrux4k0XiU5NHRMwIWsKOH7JMU6vDb5W4CATxg26hXZUrVs
bS+8TVzDgJjrAJZRKx8gopy8+zIoskjIMYqVgeRpC4ZecH/Y+qqjKwtHVSWki3ABrqbR8coKv7Gm
g4q7izKhsQEppgy2NQC9W9bYSMpK3IkabCPA7+8MWw/3mWvpILU+8qVN/xlh069qjqAr/V+mYRtf
oSw3anDdMk9nX1Nw7UJMUX01h05fyiRW0NIL1K7hrbbTkem8USgJXyIvN7yUXXciDm1PgL0zytVX
vUwhB4n6C03F2YNA6T1Kt3EVVAVkQ3FLftBi+W6bR+lK6Hq9VqICM5CNGyVKNLIDvWWfp+mJl9W3
6R2PfwovQPZFHlkod1AsiB+9rDjlueY9xCB8OuCOMv4KVf91tKc6nhZmGNoH7oAq5Vf7gETGIjfq
cofbX3fGhr87D4wr6EPb+TYxi2hR6l3cL2jECaNh0ZQs3Oaqh66ZBh0E1xuDWmN3tjlJ2u+Abauu
7djUINZH9gI26tLAbMtrp96UvtkuCeVGeDecga+Ozf094dtmu+bEw1YHdniREk3rrGzlWdUVubV6
LSTuHoFmmDciYdo6Gq8C3r9fke1PowCWgj4HWMltjG/PwUXqYFMPTvFYVeLNQpTxLSrrDQJx6quR
+ckK+Kn+Il0XkT0jrzcidfjSFIO28N3MOLnEiECBYuozROSwzwkOZKLGGaPIdIU0BbRciwFCtACv
bmJHolp5LLgjEBfZQAAA/RuLnxHIyS/eePsV0nwxh0bfxTbDLbnQumRv6xqeEmUCDfS2DmyI6Rjx
m49fhWty9q3wwnhlMJZdvER3j+GQ1+tOColab9SLQ83zza6zn33eNg9uGDVb38+zfZAxKKWNi5HH
YEFxParZN4T245XvDGLl6G6/A4UgYdSp8YQo177DzDV1FYr37vi7g22xLc8ywMX75n4QPkr7kyjb
I6eBAkMoPFyhDPJuK52z5sd7EfL1nzQrfAuP2nFwGFPxjgj1FSCLSrtHdA2fgoqCYkW1/wlSVzvk
ek08wqDyBCLF6hoiGDPZqEsDQLc3O2upOSBAaO3WfEQZeHuwzWLkpnYRPqwgDTF3OQgU8bla59gK
gJB2ubdMRoZxSLU+8boK7h3WpKe2T/wlMXrzv+wyt9JTbo3yTIjAr8Hlm0KUsFjgZ2u8gm9DAvNv
preO5D24XvAfkbKovdfdCoRD4622D9992xCMxpYpw7vQAHm19JHIwtlw+GrrUObpZP8MuZh3OwEx
wJE52cl/ELG/DrQBNQZNk+xsFYUbJDmQ13MH3BeRKwe7DYpCkjTdGUnWfCGPsInsbQxxvgU2W9ly
op5vNL3b/rFPxPPIl6FKhrnezuSghgt5DfUz+khl9blLo4j4qz19/mWk/jb629zZuR2XKl1Nbodg
OKgeSVdIoZfHDhGAjagM614AEgaZYzG85f5N0Sn/hzWUPy3muo8yNXCyDDr/BBR4Nc2RWaGtRY9K
Jfq96b1dbWMtzBF7GvdActzwqLFJvcFa6vq3uWZ6rqsuQCaxz0qI+9iovFY8qyFQ3Mv3SuzZD5oM
2Ju32aOt1zq+p6oCN01mbVIGcHGUlMUZRfBiDdhT+VQ5xncqbdT4d9y2krd5jh4N4Urz2Yvk+M+k
qjUgjMvN3PXqrtxAHjncpE4QnFiP0ivWPRP6Pc9bSNOFfn9xbVedTImDTFT6xrc6mRys7l7vjAWy
BSUQIvhJ5NhhIixsFyeSocnGLhu7NGq1qO2kUZwVzUca/dPchIfIXGQCBKqauGCbgH0lBGjNsnOP
pdSx1RztquIgDOibl1K6ufVTJo57Bz3aFRhug+waBmMBg4xOYOpm9neBGuIVaDXsG62A6l+vOclj
kObVGkpSwxklX+mBFwnfDkVu3VpxwZYt4+FLa4q7LM3tnyjsB77Rk29h+dd0J5SAb7SJCSJ/PCvA
j+AhFONlJ9a0PtAD3RP9/Mlu2oJvnaKa1Ie83sxuUdt9FALCSLMgUVaEzZbJEGS4AwSJ5gGjsCH4
od2CwQZMVAVQ+wiuLEoWqSN1mz5/71LpIZ4On0f7X7s0GusoD/uXc/MBGJ1SZCtQ255Y7Yi9N26w
gEaEIptbZuGZ+tSMLn4+iH2cONHJwOaT+AxiqX74LA9vuersO31ILkSGYAllbQEbjTfk1WfDD1Tp
BbfY205eZDZ7C15dCq9x5/qxFvgrJi9RF3wj3dpaI0IJgHBX6c+RBW44/K79qwhr8HHj5n9GjQxy
UH4bIuiirPMAqDjEEWvrrsnrZpkbovsSe9a31nOSH2bZYPqYh2JpiaOSnrxxD0KrXcB0CLIF+E0H
NbhRVI80SWtEZ9/QvqWab08byjYxslMeh99om0YHBBdVrgvXapMDbdY8G99BFMMXa2LzIl4v2fnp
WavwqBiZv8jedBKlHaPdVu5ydiU7ZDpTPBi8cgHC3mGLopns2YG8uDDc8DXzUQbtgIvtEqehurgo
oAbUoAlfY0gDMB3cG6YT+dtfZyZGNNyKzHoW2NmcQcEkztj1ijNOIPGOddqTa0XR0YqjTWBm5X2a
xu0tTxwAWhSUQTvEXJaVr+s7GtVa1pyCwP06jeo9f6tR/HHE5ginFm5rkLxEhIx8qQFx3YYpod1Q
Lyo9vvrnP/73//u/37v/E/zIbwEjDXLxDyGz2zwSTf1f/+T6P/9RTOb923/90/Zcy2XMBocF88A+
wrmL8e/f7pAEh7fxv8IGfGNQIzLv7Tqv7xtzBQGC7C0WfoDatKBE6Nazd5Y3siqgkv6uSXqU4Urp
vCF1jvS5+N5qq+kcG6gwOaJiZZvQDksx1u4ANWPphQ9htnWJVw5yqfYi7MtoO6kMJlHzSx91xJcQ
QJh5mxEnLF4hG5NBIATMRNQEif/ZRs5llq50fMcPkCcGenZsmMi6szU2XdxUmxw3PTAy/TWaVvIL
yPSzHWt17NhZxivgkdx2cqG55EwLQE1BX/z7j942//7Rc25zfLMYQw6a279+9KDHyzVVO/y+UVG/
QxI4AGrKGNaZrZUvVYKkybidUAPqoEvXrm7Jg6PmCaXaOmBif/aqhK8dstD9tI7SR5oNq5MQK9YO
jNXhSxpV5iq2EnV2IIl5LAvwZPTITT0NIH3Gx8vfRlfwTwPjPbrqPpRGgrQ/0c/MqPobGcbWwbZN
3HNR0uD8h++lZ/3+4dg6or74dGxAQzjj7NcPR7lJ6QI6L+6nTTovGOryc/sJGYr8CkXZ9opS/Ue6
HUa10DZ0y6Pu6AW4lrj2BbSKzdD7hhiwXHOWCbCm4cYUihpiDYw1X0xZnZ1xj4iH4p2I9fyZaQUk
gwoF1z63j7VzG2p5dQug/QYJe3afj2z6JbhtQXeQ+EeygTIs2TYF+B9plCZUUbdhIy8/omZQra0i
G3V7VrZEcCreD44Aa78vUPLY+eDMsFRSLWsfVYRhcw/tenb/m69t3Nbc3LtQ7vhta08Kc6Zk3mEc
JPm5oQ1QnaQQ9MD2Vz8ZdvSjUl720IwNIoVFxWIQgKGTRbxdtCg9PGReIR5MaVQbzRjyNY3SbKXS
aXYO8t6bKd5oF6a+Nu0m+UQu3zbOeFc2mg0NlKYe/odvhO398o1guu4a+MegmO2gDNmxxp/TpzsV
7ixmDyqZ4J7hEQX5OL27KAP0ylRnGJVPhleb32gTZmttdwqY31200MMWTasgBRknZ1KVnVRiSTx2
koely8orimLRjGpvEUCA0N4pY4jLJOWRJtEAdf+lbVos0BN/W9cuUDa95aY7Rw3GUbdd40hXdpdY
5UJEPdBWSBTpO9uN9/Pw33wmg13J7X+49/x62x8/TBBAcVvnrmeCiM7jv36YSVjpRprp/p3T1T1S
sZm3MFC/cGtGmgfQd2as29QTL7nO1rTXJY+qClGlp2wFhlsQzyKNWLioPW6LXY08w3ifrca766cG
RUbnVkK8DQ5khsYHgk5GiHBaMIhllRigdzX17Gp4SbSgYAsN6Jn2PoDsTIQoAWjdNVuKZVwU4LLx
vfTKgXP595+K5/ztK2bZjs4cwwTlrm5bv30q2FHZgWhSfqdDLvdsjYIZoDZJAGEbVW6JEzXgcbzq
imvEh3T1iXo5h6AB0SWTDfx5KIx1QSVP1Mq+0wMH1/FmVVexBi7urF4SFDBnoOeAFHJwZCNiMA62
jiyc59mr5v+fsfNactvY1vAToaqRgVsSjENyskajG5TGtpBzxtOfD82xKcsu76MLFDoC4pBA91p/
AJ1mC6wbhyU0VPoxohiREuxlsVvqBgeGUjjp/6iT/col1HTtvPSTdVPjsNQ2lPd6kfde2cFsPPMY
xldEC2KUuqzqIFuiCo8tv8aGS7b+1Ns1mgaDXMM9hZ22fAWmb3ydym2sNfM+NwGqLPWiGC2eEQQV
UU1hx49gvwMY33RWfeOOz9pCICkhIpO6Zae0lJa2YcJBKW0Jy2ERFgY58s6D6h8w9y4vXRshMz+3
/p2T2V/TvGufZFXBq8tLyWFsZVE2qCkUKqF+/+/viGb+46fj4rfhqpgLuKbBLnxp/+k5NLmC192k
V09hqC5R5/wtburoIx8AHfqjJR7I/ETA8wAAo68XfpQoYpDf999L0kpbfFNRybCt6OXvI926F2xg
ppObKREcV7RYrCGuiUkhVyuLTjRvwrKbn/vQRlUkyLfR4ohXFkpxRiYWqOlSZIfR7h17UblZilmN
+GjlmONeFiEafU4pi1ghbyKgZhtH51suGUGRrzWbaLban6jXsMVZGdX1lThEoGo+pAZUtyv12swQ
ksAJTL1Sr3GbK+593fyJel0GY7Pphqy7XkJeZ4KYA+5bS+x3TbO7R0tzg/ukh/86QuJ51zsNp3Ah
shMIBftFDaqDH5bqO6oi7ZZnqr+T3eIY/fOSXNfQOuCdenYQst4y2u+3afVgJgK8DJfTll0REIov
T01nzOBGsW6cqj58QXPdAJ9DtK62m8PUkBGAVmCvUb+Ifmf5lK+yufJfk37WPF8Z0/scbOi+K3rt
IGcyWzKAt5kGkQVPbjlCTsYnq/fHtYZpHMFpuMnOcpD1Zt1Om8bUu7VqzZ91skH2GxmlC6Ff53Ci
HSZWzb0TEEHJjS77hgD8UTpDtnF7Z46z+w6I0VrH9hTCn8A+1W5rdT9GBOxVTde5Ayf75kTNsfHz
V8gMyb3gcfg4sTHC8wKDa7PoX8hzBdjZBcVLkc0NNgFlv5NFq0q7Q9MDHJdFTJj1h6YR27jTi0ci
7KpXiNR+0qoivReVvVOn0X6SVWPkt56v+fNWX+o0o2pw7rh294c0v2hlfpDBWkyDUDdMrYMMGIUy
Q7bUtaMNNroXEMJZLDlIt70rufoY1SZBvaI56H5d/ei15Lsezw6c18Zfs003HipVb3ZG2ijggWbk
GmBxbsuoK57+bZ40OYxZWe0IWPSbqscSL4/Kp3JhowCDxCV5IaLkSoFpY5Pm/KSokwcT4wDZ15p5
SjlRRU5+nL46ReHNUzG9xgkEDaeyVHIt7NhZ3RoQNApepIu4oZmWHsSi8TjUbU0GbuiH5NzERbVu
VOE+ok8a7nSnjHCcKaZTohGdB5JoP1saiQKrCJ0POFWbNAuMH0Hn3vUtGRk5HDiA+2gEYbQD0DRv
//tJqP/6tmTVYAhd8GKwVFXlmfL3ByFhqKrVRqXHMF4lxDr4pJckZQC5qQc37NQ9UmFERGRdj3dU
2PYvc2tVGN6gkm/ZpfoY9znrgaHKfiv4VgIuM95uPcDwBySq/WhvLxIrUmelQ2SV/U/vbqSoSrcY
2MozLBwxxl0HTZNd1xE66ON1Z0zJpQtb7UE2CDIgD//9Mai/rkuXj8EUrBuWf5Yld9g/vQ/scQTn
7Yju8olpt92FScpPXuB8jIgXYQBdm9HLvP3o00D3jFGvfn0YyBFlCshf/vrDEj07MmXx+r9v2VB/
WefYqqM6Dn85h4eH8Y+dJ0xTFaPBKL5cF/Szb9cooQfRN2LC6RKUR20n2VWuL3Z/Vst3fK0Cpfpn
dYBu47Va6F30DauNW+8mbm3PjKocjaaNDHNmthu9aiZaLkW6mcIG4WBSHl6eqOGTElSfZxghGN7Q
QfPIA9XwpuXs1i/HIu9/bMfl/uEWCTF5p7MNNthY6JZrCMp//zoP0zxG9Wwm+8mH6mWudUxZ+hmr
bZuFJgEk+2mYBwx1F8LJ0CUPgN7qL7cevmLM5Ie0cTUEPq6NGlSGaByxcgoRmE5558ACLcJnU2TV
cVhaZVEeAhLBkzUGp9AQeFX9NT4fzASesKp+iOHuv78D2hJd+Pt/lx+vY6MSYmi2DSfr7/9dqBbZ
RCYr2F85XHq5vkZkiO27Zy3ISVyioVIvh2QOGnTAqe+nHE4bAtWrxELFMeh6hPmETdg60PTdhJZz
yH4B6u5P5Vu75IQ59f/4NvNH0pdowE//GVNo/E9cV9eI8BiO82sUS+DqW9hR2OzSLjGOHXbha5BC
INgGM/gaZS4SeADPHbuGKWmM0UrWgwCyt2gxkoCO8vCrK4oUsyPTuqjkHF4z8qKyW16Y+V0QEnaR
xcJElrqJB4GoY8RqeWzLIxmzD8BW8Y+svLBo5I2UBzoZKd95X6SG10QGuyfDT9ttJqrq1Ka9fSSJ
POza2pgf4GYHHo9y7W2Zp2/96Mc8f86jKSg9WiQTy/KiBiEvEBQk+wtA+7MTJMVR49etLuGhDgWq
oDvPymuN7sZF9pLVsjh11byH/fxd1ssq2SgPU1/5nsqyf329gqxslikbdexXXZ4HO1n308Ucu911
U9zc/VSX9Xl2akXlmUOF36QcIi9lQv7aaWmd/Vwn+yhmXSweaD0Bi3/eNVbU7Akd4e5YaVWHQKCC
mMIcw8VRhZ/ppLkH208zT3GpEa5PVB+ZvE7p72S5cIpg3QZqxOp22qR+Y+GqNifTGgFl3ihWmz3b
XWifZ8O/t4yQ0lLVpb66alph4hViZuRvAuNOMbIftx6DKX4ggm3zaDcS1ouMJBFnH1obm2U5h7tM
hHA6ogWdeZY9jLRK9sTGCUAvjbJOT4wNoavw4XqlzJ222TTN3nWOiBVvPMf3dr2LmgSluGWc1jj5
RnVVe3OdofCrRx1/y9uktjpHHkTPcidnNebSv0RpcHRMYRZr6IA4UpT+tE/F9Tpt4BsnrFveZHc5
z0haf9UipHmURT90jIW1A65zuQV5qAL0NFJLO8lRgRMo+7rkbyLvStbpGnQEct0X2T8yIsQ5fDX0
5Gczjf43vWiik4M2HM+YfquFhvGE0KPxpM9IYeEn4W5aywzz9agkKxxbskfZBYyBDoUNN9JI04qN
Fhvtzu1RE27S7+mQpttxNqKDoWjll3T2WYDY6XcQkI1ntYV2h+vo+KT0/Yda+cl3cFEsJfJWvTiB
m9yzOrVWsiG3xh99ZSuPkV8kp7lpU09egMj4nbPAGYt+uiDVh4z9yJ9CXiT1X4rS1VFfHdNdWg7u
rjGU8ivW2+tJ1P5WSxuopS5pHKW9G+KK3ENHMHDN0yU+qIkt4FjzkRF5FKtyjES19nmI+WqQP8pW
1Yp6z2Lnv5PFUHHBM2G8ep2q5jtcEaO5OG4nnjHEiLa+RiBPFqu8FvdQGvfXvu0IPxurgGLrN/pv
cja7tJUdJrvmml24+qwpo/GU6Xey7VqTw4TIQLxdb9VR2vzIngWrleXO9ZT9FSIi0IYaXprEYz/v
eYmJxiTrdvI+ukIYJ93IP+95sJx74MT59Z6Xr8MWbYNiI6+amiDYZ9smk75cYDnI+ybePFzv67/u
WQ4aG+Uf9xwkNYL95N3u23zcDkpi7rraPZTk5uCgdSXADqVnaSFPp7Srga2SEykj29y7ssVRCtiK
eYqt27VnC6kjNp0A17YFF7LMMYCo3vqR85boIUbSsk4gLxqe5Om1tuw1sQJq5+dK4oURLwA9eY6b
Cj5HjcobS5D0Gd5l+lxlOFIO7qPsAGhA3wioVBtZLEWiPTFYdpRDcABzvCEc8q2saxySxV20xgp1
OhR9uv4cxrxN2ILL6Sp0t7U+fRaB2d5PqrW79ciqqeO/2RV7OVc3t+6ZTyTv11VZ3sl+cmgdjNix
ibE5yLp8FMNpMuL3uZq7g6NXqUdkN94Z7WgeRZJn52CsWamPnp+XBycpsLcSebZKw3L6I5y3aW43
P6Z0/o0dtPbFKUguxLWfgwlH+G5uDDaWWhs8jj46MnmvZd801SFXzCAAs+x0Wu17bOoI8bdz9iSv
PE6FeYzj0TogDbgrHQt5IW2279o4/EMftIo0qYK4peWY54i3xtYoAxU2HZbZU1K5a+GDeVCaTWUg
zJGCsvjuBOKChPaS/iRq44x8yDFAgTDSit+VLvitwtn1qzWKZG0Mk//coE/pYcMgoH3Mn9eGxV8e
f7lu1AXOI3wIaHNhOHwBJQzBWQVR8LfrYdENn69oyq07lSiYo36+rdEA8fwUC528V1lwT736HWLe
yu+15t1toNqHqMbtBbGML65hHatsmbV21bUzY3Skj716n0cJuRw5klikH1bTs++q5dHGTHojB2T5
btZi5xvUkhSDnKE5ANN3XmbXepDtsxUT01Wr4RKWhOdhN+J3vlwpcwOEvgz7hZ9dexhFmGwrrfa/
+fX2OlB3+o3WzcVRFUS4MPn7er0RULMrJeeDS9gQnDXyN+timRDg0rGIuvzL7ITTXoMKvs3arntP
ymklOyg6/Dy8+7I7xJeqJ9fBfEpeqjEhbzesGh4CMBAnCwVMTzYoZrN1eWq+dY5u7BykSndhMipv
hcFffrkmEneVN4dOSgoXxA8eydX14yowVl+BdwmeLAWHGn8xEZYj6hjED4Gk93a2gt04l/UeF5Lp
y1zgs7J80EmGrgICmNnZmhUXCF6srWZeSa8kq16rCQePCDzBvggSbMOuiW+y3ybaCcSzLFKXixCM
bFAD+1kZMedc3qa1EptP5XJwUtZ2lR4rG/n6jNyeBue30Bqb6wu1zKJ5V6D7s5aDZK8e9O7EcvIs
S9bYubhuDLyGi0LbscxVjzCoVjaomNfUUJTHJCjvVL8P3ka74MOB7HmNRda1CsxJZONGtlpZkHoK
qbuDDD6CJP2Rlo64yNIyowaK4jVfZkSeDmF14pdmxXX/JIunIX6TkEJOYE+dU2f2rE77atT2g93d
a0sDXDdIZD81K2O556FvHeYyxsMOXJZz8k3tz9MptHDZmcffA/XbYASIfXd9RhDM1ZN1aIft2uEd
uat0YSRr7Bh3Wu/olwa+ydNci/CsZ+L+s3OukPAbu8y7ljXihTA0qxanm2WyJseHVMSPaeSmT6TG
CfiH7h+dldKmdU620dqGr5m8UGMUv3Vlq25AoosNeGcdJS4rfksDxdpkiltgbEOxGpBk98OkPMni
qGt7MGisogrffM7nclNMefIWhDWZjMXUi4V08oZbgrOrhf/ZGqdj4qHYNB1kay/s70YR1vdyqBJs
Zl3AWEir8oHgy6u8TpYb1VHeVLbMD2X8329KtmZEH+VNKSh8slhIqp0/zeIkUZ5XvOdSzEmAr3x2
MlexANnlKiPwEzI0UHwC7EsnW4oJ3Ca6dpJzRksnM8tmr2qDDVv6NbCk+BkcyPyqg3ZPWtjBsiSG
giUaauyy5Kj6QZ9Fci2l5XTSg2J4kG1+696j1+Xcy5IWiOcKaclrCVTlWzfa6kW25UH2oYZmdFUN
FzjMkxsxhvP1EqJOV/w2/JPUBkdgtV7l7gQgZLk5vyvQLFBT50625rznV2pmkKeRrfi/85tKQdp2
gXi1bDddZ+LcWnVyIDVWvMyWHe8SRaieLAapaM9O7X+1hRXxLcanNJhQG5ONouVShd64x7xRipcx
6YttHhOil62Dr2enZuKJdh3bopPipC+ya5YjVU6gnoX7ctGwG/oNjg8p2XcmclFgOIL+T+uhuaQ6
1gJpkqke+fXmYlb4/ALK4TQOwVhMODZsr5VV6NJUNepDnPXGgdDDhCXcMocACJLp2dd6CA/jDEYd
ccT8WXWH7FJF4UUoqlIAFp3ZsKk6dkJLqxk17Z0/gTjzs6p4lnUYXX0zMw0g1lIVuQOm8ctGaJIT
TCqsBa1oePoyflSBTvkh5o6yKEdo5TZMevEka9SQtd5kpslWtoVTMjwQBrl2lz2GEcPrriSSJIsO
YU+E+/un2R6/IZXTnmR1qwBr5AvaH2UxaCoDphF0AVmUh6HWXvQ2Tc/ySu4MvSLi7QVliRuVB2F6
eG94fFHSh8EYxUYXXb/hSVNt87awPTmwL1Tlafjj+r9tKnf2JsjmwPKYZY517T5J450WTvmz7G7m
JGY1MWuft+8EBnsg881N8JtawxeFjx+scXZC2dvW9YfEXpDZinO8VcmzZLS3IPnGsyxdqzDcIG04
jjsItZ/D0fnXgY5P/Rqlg0NYjvYmNeA5TKBgH/rYya4Hv3EWwwX/6HYFMjNZg9zdOOaf/XS3G7ad
jbGfG5aRNySBeiaf3Z5BAmZeMqbhb/5Bhplv7cLo/7NdjufVnLH5S4stWS7bq0gR3XUt3Hzpjn4r
ShGdWxHqEPIzS2doinRm+f16a5VjG2CZXu2K8eCQwbpvdPWHTAlbTohEW11bO5kSZtV2njAieGpZ
hcpefmy/TgN6xUE2uNurh5KmvvZd1D66hls9pnr6RSJhyjhwtnZZutuOVycp2dVkQauEZFzsbjpb
qVJnp5BtS5JEYQkK6M8uUmMrGcPKQwpn3ExDkUwr280f0D2MDxIgda2TMClrbBvvau6G5zcAkXJE
Ad0SDh8aQsrhbADZzSHOoPunv8pWLMYwOMbXIU2GYDsGxOlKZUBNU9UKcQ4Td6OSHXvQl8OE+sVD
kJUfk1YnR1mS9U6nfQ6VdfIgLGX0JjZt96aO1nGEOPXdZDf9i5l0zaatwmY7LEVDUe2DFQfRWrYW
RuzeV7VxlI2yqux7z9WF+ihL+OUgzztlxR0e7D/PJtRtFNTWI07Z7ZOSnDstHx7Vxf58yEihu34r
VrJN1lmBgo1VNBAQWvrLOjc5t3Wnnfo4u9wGWtMoVrL4y0A9N0mLMwg+2ECYYv68khwQZ7m/LzTH
SS856wREF1RCWIG9V5Rcu8v9wfrHGSv8rWr7oL9aokdE0ohSLCwE4AFD1ZsnWepGxbzDGOO7LMkD
kP9pHeN0vtOzAaHu3gmeeuKpy2A5jR+1yvLrjry+SVDdXmZsQ9M8DYMSPlkhIKk0xwNy/qLJ/1KM
rLVnhJaDBCofnzzEdX2X6rpylqVpgEc7DuoXWartoT/VhTPvUjJnpygIcZRcDslfZ2bkdrs2qd5l
j1StPnvI4pSma9MoY2wJjRYJWkhAM5a1Kxe17MtQpe69WBqypaEwALMiCAtNvxjce8jGnyNgu/6Y
Sw26jpke+gWioKuz8WigfjlrzVO2wBRsHu37piSMIjvIumERA1LAwl4HNYViPNruNrfPljmurUSL
AEvnxkUeBnfEhg0P3W2PoRIbehpCZwE6T0uLAX9x1AmpyX6yFXDhS48r214qa+WuhSWK5dxJYS1X
RWN/JRtkeWlV/OA3MJ/w70O8hHJ30J5vZ4EyhV651CkBrUbi/tx66zcW5gmzm49wGKp3grOkQ/jz
X8i7ak8V2UhZX+NBT9isKfdijKr3kG1SNpbWl75jwYMEJ1vupf42PMel5q4Gmv3QaijWzPg4vbGR
QAB9OauXOnkm62Sr7Df0dfhrq+MOn2OL2q/X7hBqO2XWIcm1ISJJKPEfAaBsZNWtXp4VVhucO8do
dq6ZzC9G6p8VTDp+X06ATA7yBFP4a41d4+R7tSL3+Ut0cRcelVp9SH32EJH8y8nTxp0x63GmgQAJ
f1NrOcgGfdbCo/vnCIf/6eVKBbIxbgHjoc+eVoztbnAq9YU/pbIb0iD3ZDFtQBqbhG1WstiMCds0
VgpBHWndWle07TDEMdghhrogHFcVv7w7pdXVFzlxHVcEVpdiaDGxmxNr94nwohM8OQ8IjG3KUBsv
7kIOSkYsQoUZeD2sJ1LZfmvobyiGIWmYZOVadVPjTbFyorVKXsFzq/S3umzeJ1NPHwLiny//MkhR
J+HlhWadc2y1FSVOWCt5QQDqkl+MF8mTYfZ4Y1l7S7fMbaZo+W4C4018nJevLOqNwc5qefnKYouf
6nrOwupxmlLjqKWuskYGavoqEE1a952ZnQi59G9g0nIDzwTZKywNBbqZO351HUR7EXzKTnqvyF5y
8L/10hW4ILlqhURDkv7NUM5yhrLtPi8ri79cll5NOhTbShlUj/xhdrkdYh09uFKcbzWZynt8BSZr
XddmeZINuIvkF8jv3Ukg7Ps1z/gt8555xSXM2mdTZW4TMp9f+7rx0gWzFNuYGARl65xilGDvxx7L
8yuYiZF+HSevadV+jlT97DpSdkj/GllpmX4dKdFOWEw+TkW7j/Cq+N7kuxHBqh81TpSrquytVxOV
jk3RD9G5rpTkrlZGbeuaVvFMpIXclt0bv3Vzt5KjkmJ678I5emsJxnugysJLaJBaVU3id5Bgk6e4
8cN1kKXVRzQ4qDyQOUt83qhK2XydI7dCs6UJ75GL7A9OXbyz6M+8ajSIRWG8hN7T5HxjwQmmtot+
LEYnCay39zxT7bVfmNGD2vra3nESa1/oKkki8PfY9A7ju2EV2NjwblUV/73jhdCppnvxK7V46aEQ
rEs8QvaqWxQvglQVdE93XpdGWL4M0yDuW9wS+d0VL7KHOTr7YJ7SB1ll1W6zjh0nPMj+c9CbuypT
U0+2EsRvL8ijPcpLySonHD2sdrpHWWpD3YVvhI+JnDuKamVr4amMNCw3YwV6AQi2/Cb7jkVWX7LI
hPEdKTpmOlH2Qujq0qd58U2PwEgbSPoca8cBWztD6mjU4tvkT6h5dgZfCrw8vpbiQ3ZXVLBJo8PC
XhbRZbCLdngv9K7a46zXbGU1PqZea8QZXIpMOxRaWG3kpL1iHgt+jC9W3kLJ040DGLLkKSkMfHsM
wN2N3eNPVfQ+r8KKdzXR5KeyBWUUTj0kr3xI1lZQd3tUvBQSpEv5/zn4OtVytX+dQA1wAY3bAvWV
RbGhhdmPnsVrrCJG1qmluZL1uTrOXhkM+rVbnY8/dWud9OduFoulg2CdfJ4iaQlOEvH3KGndVWOr
+CW0s/EmcN7N0YP+IoQb3ltWFa7m5SHK+qDfuXAzNrJoVSZ5eAIFJ1n09dc+sNovoV4blzELEtKY
TNZbJmTiDonDuF9Z5Px/g83uCS0nOAGw6S5WXfeboeMmh3WieEKspd+OSavc+W7V3UHudrZ6VCqP
8YTgWwjH+5vZdxdNjp8TZKCGqP69zLGoGO12QKEV7+HSd/OLXU7dARnraR/7TXufTQqqwliRfCFB
9EcW9+GPQOxNTec+KlV7dVJnxI2G356ykMziuFJ3MAO6YxvOuLX2ubmJ0P58EcuDgt37+KFYDVrW
xMTwi+z3iS78/aTUgdc2mv6aR62zLyuCELI4ASnbJ0oSX4uYnOp7zW2Sa3EI+JVmWJ95ooiN11SM
ZMv1POf9SrE145GiVVw726Sr9xVGitdWqw7avU1E6Do2LGzWeWmI1eAytrTInjSTiv3jclfQezJs
45T+2pqZEEk7R6BCubS6bhntA1WZrq2p6yu7oFfFtXVOY39Hih0yxjJzbZMIwRJcv7aaKk7Ppobg
uJwqjIS+Ey06qrLIu03dzV2DbMEyNh+HeaeZPqYpy3XVXht32LdB1ZqaQ+OU7d6f8le8h8ZxBcuy
OcsDf97Ps1i/t5t5PP3aQ3YLobyuSOSlO1lsSkyG89DENGmxj8wMzTm7cwvOqPTvefnqNuIoVrSt
AsRPZaXsJw9BEX/YEchSWZKNloL+ZJcN23gZf+sap8Si0phc2K1OnrWaeNFyLE1vczc4s945oXls
Ip83nuzmx3BuK7RyPDmxmvHwWUWwxzNY1ne3i/kF9iOVUjwkbMh/uj4UjgaRozzeyL63i9lacjCd
pjzd6rtAyY5oV3+RV77NHeWasyYwpl7nsJ99W4UqutityIMS4bQSurhkTwur7M/qNA3NdiXLGlYZ
f52apNLQb0FyQFcyTwCwOF1PZde2TJVV2OLHJ1v+Y7o2jXaaH5BaWC45LfNYQceuSJaNSXGQGHG1
jRo7rM3QwXUH1T1UAd9yWbTMxGbfFBZnYbrBlxoPN1mvjo5+qGrBMhbw1Ve1gQpmNcCdQTkbrxnR
AFmfZO54mMMRcqCcHFseciTgComBsKBVSQXIQ9nG7qleDrLYtma1FT5EcVk3VBVJanL85UpowiAy
Fdvn2G7tc5I2Xufq8x0vYYPY2NJg+Xa/IfDFeyXJWWfLjrJFjbBtXHqHy9hbvTxzffVzmCxex9aB
eTQKNFc/qrTZTZOmnIA0pI6RneVhMiIEq5aDPJN1EQkjDxx0vf6lAalxCIjLWNk5VvrdJMri+Eu9
7CGHkib3tzXL5esV/+1icqxaux8EEJfIHKHfdPCnrVjsEaflAK7r81BKA8UUWsnBCsSmlsVbn0EP
xFq4yrDTGjtemaoZYShdBwe7zNLdEAbpl8hPHiWlZG78mK9F+3MPFzD6f/fwlar1prlFHtZFQdTt
WoJXbZCfNGFvDB2v3VuVncaII9zKtxG1lnR7vajO0GOyk6y/drYnYXt9hqOd2XXtA1rzMFsMHDtG
Yicu6b7a3mNLVayqyWwfrpVl3uwA9C1CrtQVy6Gp02jDHlt4cpprg2rjH5Ogpj2LxcZp8XYalUms
09Tv1re62Alt+1oupHfTrUlVkVNdyZGy8qd2WW4atDB+me5fO47LHcgWeZAzWqrzWXcr8qvjxS77
OHmFI8w2gYDmuWRcxlUZTOV5xI2RzE5RibsKborQQ4qypfMbrfOCtoZbyV95Kyut2lpMQSY99pIa
7VN9aJ6qSPAs0SL74LgJ4ZKhTh4156tskzUgTuO9TeRxfauzTHw8ohw2nZqY9VMIVuCpeJLd5SHV
XZbtwrGv15B1RihiREPCZq8VzrBXMwEGJsvSM8G49NwQ+9iHqEBUfqEOfHcdjrJF9gHL2YLH7tFx
XnrLBriT6rbodSTDslQ7FmbSNy9+huGvWWGF5zrBc2ZG47uagVmvzawlD11hSpcGACTyZjpOFaR6
Fo7BA0KaGDQqMDATts6rITOm3yHaryGhDMEq7QawRroLZslAUCCNuhfFJ4nX6zXSHTbS2yJN4oOy
rLvgLhUbfZzGl7IBTB5ZKOurTnK4zoTRKcEVH8HHjp9fmuUXf84QUW3LO93UyOPaU1qSHfqzLM/k
oYmaYm80OmJPQXC2/joQWoP7PvJYyyJH2wmneZeNt/pf+s5jFS7Ytn+d4zY0TJz+iCffRs59q5dn
t7q5dKJThGz2cge/XOlWJ28mmZFednAh/KurkxvRrrJyhLYCszkjDItRvR3o29HJmk0dz+D3s0fX
hsipFK3zUubaQ4n90r0gkfrSdOq8mu02veuHzH2Z/a7xiLvYfAa0Gs1gbXWW/xttKbqLl+6sAMGR
M8V9reIbE36XjSZSQU8+PxfW3Kc6MUts2AJ+6nivc/QXOVsyUGAZZFmeIpM+HEG0LryP0X3NfHy+
03G4yBJUzucsF8P9tRQaBLac8eFasux9NhfiUZbchAiJhW5Arttv4M+hDQ/tfC8PGkDYTe7rAogC
dXllfDbUICqxXHGcTSvMzoLhv7QgqrIKeELtbzNU6ATcx0G4y9MIM/q/ZoYc725yHfSliwkndKfM
2KA9Zj20gG4ejMKO95NhwyzrS6Aly0EnKnLOsJ7XfHYjrEqp6/Rgp9fzyPKUkuwbR4a2qq0Iujr2
Pg8dpkmxMp5ENA1eRmTrAxWeSrU+apT2PJFk2klXSvsy9aTVZEMF2xzfTvHeDyYczrn9A0KWs5ua
tjhmmDUgAng7jYFnH0nrNvM6DrTi2KoW3l2j4h+wdCDmDKHSMuvyJeyBgfOGrw8E98qXjAXOrsYK
25OtGeTCcz1kXwhGp+26G+aV00XNU7kkVVGZmVemjYtjH7iYAsCQwlaky8WxUf35ekjy4efihzJb
GUK/SnBHVAheynLmz0X4U1E2/FKXLv1KJ8eCVg5R53bDs8Xc18CBxjAk4zFl4cYORQ0rNoofVbOG
CVM11UfTWy/uKPSXpBuNfWIb/jYte/9NgUYwAqX5qGYkR/N+ai+xyPTzSLZzXdVjfj9GoWh2QQAT
LQflhR7G4B/UJsErstH8B205sGuqLsNCZIsJ92/AwLJIbwZcY2iU3XhF/0H4Oj7KOeQhtCJA4MEW
Wiq4tNCY8TZHytDQp296WaK0SSIdV6gu3kU9iHC/N8NLjI7DpahCNF8b3yISQfHWEC7FzGiBPumY
MN0aFMuszgrATbvKUc7NG/urHvhoLYe1fWdBLH4bug9rqfbxgDp0S3CQLEG1AsEc7FW4rihgDQru
qJZygjxsbIYgI/GzNMg62WqqbHMRa6cPcNhqjQbhSslm+95tQYg7thF9iCl9aqpKeSmBdu2b2dC2
aZUrX3NTWcsOEw7bXlclxkmO9HOgOtJ6BZuRp0wV5Hc/rSBaM+Vtl+j3sWVq90Qkh22QKTiI/FUn
z+o4rNZLOGM7uVMPh5CdUT+NDl9MxsqDWafaxS1eZEEveECsMkB/h7Gwf7frqUs2rLvTjQGDz7uN
+j/KzmO5cSbLwk+ECHizBegpkaIoqaR/gyijQia8d08/H6DuUUfHbGaDYCZAiiKJNOceUy3Pj4yy
95spdPbrifWthHAfiPCJMJlfUrEdpPhK14i3icz3a19qkU9BH8C5nqe9UzXOdr3MDSkR2KbHvLuc
/X8/y+pl9doRvqQYev+EOVH/hBoBqw+DnGQqSQ/f/Z3MKRTPs8t2kMvWE0mqqg9ArMf1SWs//y+m
D+2wQFyOcaXaDcI+uPYP1VLfV1Od2NvjO+B8KlGDfb/mlm9Oo9ib3oNfZ0SiPTYkRh1gZhlXq2z+
9Ww+0XfYw3+NqPvk5aLHL5+/1QHQWaxphEWKkwwJ9Py2BlxPtP14zdNE3eipBhm4cR8nDVe11ZEq
7vV9pEr3cW2t/UvXepU3i3D/VfjV8wLCn2mLeznp4U3JniEJI3lZDjORTJu4GuVubUIXXWKUq2lf
xTPGlm730GjtdLXmDCNLqu4Bkqr5uJ6UzjjtSGHOt+tZ8m7Hc5aTw7OerTMcvSZ4XOvJtQulBVRb
c7quLSsEYwibh5DtTa5vlrzpdInT6CGUblII6cHa/M6r/gq6Wdvjck1TKW2wZlqrjjuijdamu+ti
26krBJmy5J3vCqoeNhPj67S01i5V19+wiU0f1+sbfrJ7YuKZdZYrXGhEt16YAPi8mIeYApMNmGI6
MTq6vBCPxRJwZPQp09uk2qweTflIXUrd8IaGG7Z2Ogtbn3HzNtZ9CblST4Ipm8jbU3pSArr3qLW8
p+RkM9jcHLTd6TRRbU0zZ2+Cru9cx7N3ZpG+l3GpQNK3lUBQnjxQjj1iBCxvXsjgrqFR/McF6DZb
HJo13TTwuDDHy/pIsaAbVSUGjrrN1xorQ0Z8e7mYHnsB+BOzNFAsyBlT8qCGpB03oblxCx0UN1mY
5AdnvE3esiLysPaN+PtYYEzFydDrOXjVJSpv7DNO3P+jD43td4HF3nOpGtExcrMPr49+ijjy9qHU
vEMSKmBbbIeZJSW/ovnVklO6txc2g9uMx7gu+V/xz3ElMcWm5U/YST2VKBF3AtuDJIR9XmkvnaH9
42m666swwjZmF4J2Ko5fGxSI1AnizxB1QT9w94AS5GROtcR24RmiPnmeiv05dUJfnwUCIAoRW0jP
DsLTcmw2VDq2w9AxL6tpfB6hLfqiaB874PgIxP5PYuVYzFZGu40KrdqVrZL5gwnBVE/7AF9JiE7y
Q7O7+WdbdXvyC4/NbF2NslbPXgO3lcmp33qyzn1NTn/D7med477M3vcTK2w+i+YDl8F97OU/+gwy
iV52SHGLZx22mj/UhMvryo8oTwKrrphWqpb4MWH+TPN3fL92Bp9M7hGaNzrNp8oyYWOZb6gBqhOU
Y3YnhL34ZtwDGSjKEOhznkKwsv7RpT5D+GZN6clCBFzwgZh0W+ZMsFNG2FRVJhdpw6yeI+p2VkJG
wVh0e9iiP5Uhz1+68G+Fhe4eEdqrAjrKOmG+lCMAUiYXw6kxZfKYnY2q6Rf4mPwnc4UrE/ACFMnh
M42j+qJNBmFo6UvX99qr4Zx6GJSBEooXDV3IpsDZYDMyBoB4mkfixS/mPJ4KoZLElWSXoSXzSUMi
s50TvgwKvf1ewic9yejoVe3W0QlPDIuaiBxzuHWarFl8ttVe2pgO9n33BPVjY9bTAAvZPGmFq/iq
lBlMu+7uzAUFy6mYN12Y1ycRD8e6g5uL1RKlWejrSqcehgGNWWHmEF/hdWFbT7VfOkSolJSJ2o60
uJ5UBhnaF9eB5kxqjugqe992Eu9MqQY2DEiB9cJhntExmEQA+VqYaye25W4wdApL97A+gmH7ZtVO
sDjUU+wJ9OFVJfVtNVXNqUswTr+uDyt0b6n/H+dmXaUjL+x+36jdsSgBumBH8qz1VbT19NcLRGQE
xaHuZ+M87BF75Kidzdon6n3ER2NuTsKT+s7q1Kuql9UJIvnMHSZd4lLYH2+aCZJJp0+fzFU2MpnZ
uzVicZNnZeAz+0UnW8dcIY+CsHTIoErdP8/kOX3ELhu4yamkn+u/dNu5i7DzdWp6xwit6taJ+99l
w9cjvPmpNG0MfEu8m6nAF/likt171zpNJP7BBK/a4iWXc7VNO4jIdfeZOXiWQNR1sE0ty+2sSPfa
1+Exm13lHmLwG07yrBnda261xQ7nko82T5WtEzZ8eRg74v7TP6q26CnhU6jWmuLeyP6fqDZbnAyl
vU9sCirl0O3Cvs4D3m9yzrJx70k+kKzEs0XPrP6xKviwtFS8ZAN1fb1i6xKKfRJnuxlA+WCL5iHL
Cqx9kuJ1KNVALNkw5FQSE0VmGhXNZNcW4UNd4iqRcDOqWv9Uhtq71B2gmqY+q+w3gm7u+y3KReuk
6IoAs0/MYyowuajb6q/QisInk9pQ67+49MT+aMZEkzcpganRrc0N7YBDbx111gYH5MJp7moq3ipT
lb5njGx93ewiHTva1caAv3AEN7X2sqOusUhI3OS9rb3Z7xJ3CpzmoWxT37Un2xdeTuB7Vrq7gnLP
pYOyWEdNe8mtDjQXOxLM1NBhtULFk7LpXsH0Y1/01rtRRCiygJyuQvUOQ4rniducCmX69Bz8ryzv
wxoy4j+N4ZhTefKloFzM5DwGkwWdr9A9NwCGHg/svFKqa7jZpFl1joeWMdgdzR3hGbrfLUmfRqq9
Iege4a7WD+bkepu47MnOSBCniiE+r4deWPGZ6ug5zWob6bCdQePt726CwAJkyc9sxe/a+m9sWG/W
MP2u9ZYamDQfIGOfS1SIzgSOaNputcEH4UdD2OjWydMXbMWty8h077d1Wh/KqMmesgkeniK7m+hm
3+yydJuxqNvoCLMwxYpJ+NIGuLSZHXQaycqVLgwMgdzkUGdu9EAsTYjbjyHPs5dZx5CV2knIRDvF
g4FCU+bzuYiT4ZBjgvwANdzYa0JMj73MIhazyFqhx1S7fiAYkVqTti3jxHnK2khuo/qx6pD1mMKm
mEoAJN4ZLInzipxDiflvsLAggzZRqZubUOItIawX2/CIC5xF9do0h16xyRvIY/e1pWgf1I7V4bYv
8RjuoAEZE5FMWOSrP+aKnZNW9cW7UlET9ZJ2PJaWaW2QvDZ+y3D5PloofSS6lndkxS3kZLgP8FRJ
/euE8c4ERrIiUq330e46MnyFSramRX4GuMh7hCGKz7A+vIOns2FLqv5d88Lez2BJvXsWVkjW7Nbv
UcEQgY9h9Y6EbMRUG4u3SDFOBA7qF/wnPQAJJ9yszVjM+iVXUBGN8n1ukzJAl2TC6Y7aXWWOTLKm
eZI2e+IwMvtLi4nrpeF/PY9uvYNwxl6ZCWhTehlSy9SxHllrgyh5T8pcKy9twkc2mEFv8y6xGEqw
8h4HPJIxhekiY0FBcfOBGgXtNyJBzx5NLbChjO9UVWkITml+un1KiRlvEDT+xZ2azrTr8RPZwBSy
A9KwDL/XjPRaWYPjTyIxtgkQsG9Y/V4vEo9M8njYzeWlT6rp0DVxeJn5X5TYfoCz+JrKUDwBpHY+
nlRMWbWiXrFCx9Evn59sc2LCLuopAEiAXYdzN4UpdrJqH3cBYoZ2ZywhqF0eByjik6s9dMXRm0la
xdqRDJZy/qfoCnJGinlfkcq3nUrvDXLwpquHGOEL9384w/idKlfwr9hwQwgcbmfY2o69DRMZ+WEK
0NrU+OAIHu7iGMmQCPH40ob0yVaSi74M3VEKcGVnXb3p8A5V8GFj4hYIHwAE8GINraDzMsdXs4JC
JNNDG4f281B6gOpWtms6o/SHAlCj8CJ3kxAA5zdUlreNLO3N5Nb9CaMO+zEWWsyPboa30ACXaSYD
as4S+uoU8UNuVJB0jYcJa7ptb03xGW1HtWfhb/HOrvimVQcNxwyhNOG55VbFHKr8bTpzRxCbsA49
VjRSxkDIk6Nt2zYs9kUk0sCMXxtbq56iadR9ELV/GL2pMA9iOuWW30996csmUq522XSX0R4VP6dc
/9iIQQR4NvOPq95JEr2RF8A8SVs/gXZDbugg/hQ1DpS5RYC2o2k40+N56WNK66packHeuOMnMV7a
hmojMYreKQpdElMz9xEj930fKanfu+rVBNDZGvY0+VqrnFqveBXCdh7yVvmsR76o0dKMR7Os8m0z
JX8aA/5Ojak4yTlPRVfHD2k/jL4ST44/kjLQMu/jCsG0otrZiSDvcDuFpAeJHqV0F4aErmHdIRzl
0xzN4WyG0LfGUgayG62gEfxOulLPTorokYAaAKPTWBzdqScZxC2qBzzHLmrNlsqAKmIQiagTuQFZ
lhWZyOxzPXokuowsnrS6b/aIbLdyVJCsVWI+ZFbaQK0sX9qmuCkqhDcMtpu90zQfmkj1wKg1kzss
5ebzzOvcjajk5ujoRqQWLZho18tkix00K/hImzYqu4/Sk+KERkmlejX/0zQGXDmWBRtuCjQU5KwH
8ziSPtR5H2mYm37r9GAd2DSNKd7QjX2lVDpeRkiGeBY1u9SN3hzMarajp5NmKtLtPEY2m+GeD6jv
xc6OQnUrnPSNQKBxUwGZbbFcVbephE1YKBFGK3r5kI/4YTUhU1Rmm4bvYAm3U+LeCdosbgMRyj0Y
XHpKsN61Vd0+s8Z/IOyyxcY8fjI0TdmX3Eh+OD2lEDiGLBa3hv1sZFFoNlzqJgJdSVs17FjVWmel
z86uNKJxn5W2tokh2PjCxU42vkZitFjeNH2QwZDcWE5yk54425Zbb1sscqlbZ+quR453mB3VQ/GL
yQljOFKaPsl2Hcbvc2cX2HnFZDHgp74LJ3XbOG7tI1dOd6FnMZKEItri8vSh4buzrbpmuGsZsFCG
+qbSdaK+PI/MUgPjryqMxw3hj3e+KheMxf0J/JnuhELSxWRsnBSOTAQoB1vfqUk0qTG008MMms8o
3iT4DDrXQIEbCKm9rYOeJcWusnAwr3CCgB1etM9VioTLoBDoUfOvRxj06WhOvspK2uyIBmP8+YXN
wnAWcXpTwmoOelULH0VjfNgmdfi5L09xl4hjPjFcmwp0roJqRumcHXaZSE/PZO9uNFLogqrScEQq
QqRzITylpDm1eg7Ja0zxdIwqP8Rgda8q7Fn6yqq/DtYMC8IsMqKRbOsWesm8Q6NJGEaCILWbFXbq
YxZDBPCqI5GX3WkcRH9aH30fItvsTlkMdQpNDTO1A9wOv30/5am758stT0aqlicbvGvXzsVlwuz3
hCXSfIozNm0euqRgfTW3pRjQpeO+osCIDc0Z9ML1gfovQvPqU1Llb7WbAaDk5lAfZpmxRfZQNbvp
hC1xN50Go8PL3GnIwrW1LPMtC3cWPTePvbIE4pX7cZrzE7NIziZoDLdWV7zZElZA20cFrw/U0pCz
m5lFoMhCspdyw9N6YPnKOlQmFwvYfRcqan2auxq/rMHa1wyHp1pN4C5KlqV+VRcvcdL+btq8+/qs
1kfrxyRnC+/zKZxdnF86sQ+XNMp1n7E+cpfmEs3H972py3zkTXOwx3A42dEroqaSgW6rYfXP7oKq
rOfEb0Ye5VrQqFVybNuZgvu80YbkpileTJo9/xjFNwsbSpwgWME3TRgGDFLLG6iufdFcEoXhAgvd
QCZTmPlSDcP9nFaHoakwVshJRYzlcWjRJSos1qDBjsZpfQeYeVAXduZXynYleRWGOwfrw0aTJdvf
0PBlC4kSqxDk3y9F7rG1GkzwGgKpThAd9JNAYx6UDjq26pc7p7/AXVw+2RAPuV63XHbHtMnAIgZV
iuP6XZX6WJzq5bA214OJmQc/8+Wr/L9OhwTR/8fVg+M1u2kQgIv5XiuHgLDlDzYnXdCYuMJtbcXE
YCRPDn2VeRR1uCAqyf8u3Biz9MmvvRp+pnAqKHccehh/u+mPIFOCCuCoKe1DmHbymCoZdu7XjpjA
XSf7Wx6WDwnjwAmXbBLSyuwndnIRQHmDTKsjY3bWrw3e8MDhirt1klrxIUZTToji+Tmsspyxe852
2hDdHKpiYXYnd/21Vl1j3y8wgWpZ2WmMsImsa/08aUTb7BEiOPeu5h72ehe+ZFa8eKsMkviBPEJI
2Q9HpbATbh13uogJQzbLURpWTeCMHuYNVZ+eQlXgy90qLKsQY535aI54wSiWP1N19pURkpZr6H7i
ReYdx6O8LJOTV8x/+LLJp4G0ejSHnGxNPW43khKZPrTeZRCzsQdULlGNBTFbiI1VN8VVzRA19myj
ApGWsd+lUXG1YirOGFlh2p/vEdrPG6owHldh+GyMONuScaO7c/IO678+h3lsBkQi55tGmauHBOMM
QyuUt5JhdueMtXtMySW6kZ1JTdqa299jIvbO3JI935p3xxHFnlsgP4Tg6G9FHuKYECs/u9AsA+xp
exijIr0oKvuexuu3ZSrFz6iUryBJAQnc5kcfiRuGqM5nJsDTmBf0XLGvacjyJY/iyq9VYtvMxv4F
Mu+CBTBGOWrbHQBLnikNonHpKoRWoCWbImqSo47j/MbJzPmAi+m8nykdbGBpGptZaZsty8dNUQ7x
Xq0WvMMDkcpBWlvR2ReI/sQViv45R09ixIX8CJXSRglOMUG/J6VaLOIVuVUNe35uBvWjbbT3fGgr
3MkRTFLtpw5DVkvsxh4+QEO+wXM5uYk4yRC3JhOD1LadsvRcZeVwthb0boLqOxh1dfD6Wnkl+nor
PANIFcXeJuzS7RjF0StMwV+CoKlHs9aVF0O1FOIz1GHrdhnMRquQu7Qe3Y8a/Lr2XLj1TTidAT6j
TWpip9RTQT7gyL9xcXL/2XiDETiJo13ZARjHupTNvkF7dpdmi+qdSvhnjX2w5cV/agKJWU9rxs0r
0nLJHjEPntGLm1GFQBuKyH+n5Se2ApIaqSz9uba9O2zjcBdJB8FwNZOxNSfzFYjhz6S3x3kS7X1o
WvfWYWwhc/jMBE3Xe5zAGY7W+nfKmz2tNe+EWlrqf7e/Tq9Xrp1rez2sl38/+7vv/3yJ9bQ9h+s4
j1mZcoxAPlF/LKHGXw+Lgbjjtb0+WuebXqpctLb/4+H3+e/L17718F996+usfZPW5htDLUefvV2K
91uel0yqy0PVYQkDnPrvXqM3WRAs51MFyu6WPLZ/tb+e+nUUE2VAxVJ2USKq03ool2l2MAvMx9a2
2Uz/buNezSqyjx+KSY+eLU3ldnAzI4BEFD2vfWVmM7rH5rBf+9aDijZdlUP48NWV2clTxDD2/aSW
5MajiZv/V996Im/mmvrO4nW8vPhXX6w0vqb16vG7jx1ngJm9cS3MVNtKt4z2VonVeKFU1kUtTfUS
Zp5k6hvbn7WrvWUQke+6qoynORTZ1iaA6FZMM9unaPKxeCs+JIyLfUwA5IHCCKpl1ImE7G003es3
fZ2CpYT5o130zYMZp3uXOfZMkidLpDlJjyjH9glb/nOOZesec5fXvE6dC/JDdauw7WJYiezHoR1j
VvjqYzK2J8xQsjPpvYJIHYjcsKjmreFpNqEnGf5xxfxTONhO8kF7dwD9x7yt1Q/81vKNGOx8q87a
E+Xmji1mh01jkYxBg7vh3qwLKj0qhkyajlCOpfcm6Xv1tXIGCKNtsqgpQJJS8qGIoIqM97j8YzRd
w04ZQmMXWW/zYJabDO3ccyoxKSjH4hdY/nReu+pI7y5emh3X1npAKBztGqTfm/X6ta/t9FfP6uuH
tdXLYqbCND627eTBU2vFpsiS4TkXYY4MVg5bJRqG57VPFix2IUdd1pZHKudZVtknNjT/umAesaoG
lYSDsrzGesj0v3KwxG19Ga+c5VElutD/vqDviHswlTo9rn0V9+1Dq4QXr6GGPxUb/BKjJ23OVEI8
k2nnuNECTzBsr32RJW9ZTgV17bKKHtZtWvxex/W1Sw7zFKilpu/XZjw1xfMEKv71CjkR2DpEpZXz
upJcoYM+xWXsHOKG8RXLln+Tbr8uaWbW51r447v/v68D4s+hQxr6bn297wt7Td5HqnHsbLIhwMGp
eMQy0Dwa4+KfU8nRX/vWQ1+oxWO7HKJYgc6pT/Pi+YQ0539PfF+sJbNzKHX16btrfTSlYfH43efG
2afq1ax+aun5bt3Ej4VOyVgQ1vv16LvPVlpIBLV3Wq9QqDB9XZZHVXpQdMgwrY7reFyahKGoWfsa
AQRtQ9YMu7WpiSIjDaFDd+1YzasIw4Xks2CFy8VyENkhFgJS9dIcRFeSGAzPBKsm9l7CfjW8FH5b
YYIwL02TovpBb2Dut0Nnv455PRyEwoptPZuOTXJo63LaRCZa+b61nVNYsyixE9A5VdEEJmmp/eL0
OVswT7ytLSvTkvtSJ1hb0g3tF8O0cElqs9vaVXQRq4msnB/WJowpMyDD8aPC52Gjj5X3YslewRJM
KlvL89wXjaXRQc1Z1K3NAqsX/NdY5KwXGwwXTygYzuvJEEbHyw+dn3UfDJPBfVWWT+ryoknLcrf1
vPxhvZBYYtZ0U0cyEsGF/to3MPNsRYMLlcf+3pNlj4iGKW9cJ7Z1bnJ1JwTuXMo4bY9cJDBsfT44
abMTTp/C/YzkPsct5CUabmVZZztPIRg6HRbfy8G+AxJYFH+1blvAynpVkh50KlV/dFHC7D7l2aul
jRPrfEY5QmNS1uKGc54lcmd8RNPXXhkptnjhG3bQRHCMmD97nblfW1U51C+OcWR0lFubLEsHVtDJ
0XUP+VaCFXUeitdmBMlKK0pSyGj0g5ZHTiCoCSwonxP0MF22MjW7HTDWgo25LOez+9QZeWDqWXTw
9A3mo+6TveTBrAc9PRimcjXy+kenK0TxuNV05U1jw1GM4NUpexfFQBYZUzwOIrtEaqjjIYhrVvGz
zfunMKzUF5IMV8aNX5teeM/AtZKKtbqqVHw+kwa7aDmsj8SyxrAL8zHKo/SrSxtDeVKM/jlu0t+l
7RqHhhiLi7Dwh5tY4p6zKntn7d38dk1x6cdM+yRmY5d4jcVm6dpMs8+CPKeG3bbQJazE9zBX/hEt
/GuR135ENsarGTdHCZH3t5ZhDKc8pcSYPOt2ccaZN98VGjhtrsT51h3ikqK3/MGir9r3LkIG0XoC
f/qkfTL7ogYIsOXvWvxUo9nee422sPNzdzOpYIR5LAqCs11AWxVmrD3rtzke8pehixd1YSpOazOt
8BuFNPGA8t5+CruJOlQ3VGg1jPFJ1uaiL4ubHazg+NBUeIRYSn4g7okQh9SuD4B+9dZcZOXszI1n
lv78+ZkaJAWKDSSobaxQ6Keolfqx3krAG9s39Rupg8/RzAhkMNTuolAvSPvOYX0pWvmqOy2etVl+
s9itvfazq93aRt+t57A+9c4dGdr+aP/pGJxfTeF496zEnp+IjNfeMiZStAlhXs6NGMGBNZNqurRU
/Bafqx7kfmn1FIufc5J41xZ+wOVz4yU7EZbWa1tUhO3m2X4913mWenPC+vDVKs3q1g7z0VQTFVsL
/ZBU6XzJlkOrDuc5bnXgGlpl1/S73lVsvIx0+zLqmsOed8p8EB08A9ZOYzkTW8wx05SdM722L+qg
cTac2nlrStljWLu011PrgQImMU/9ZW18vVRWNRZF1QIYNRvEYegzYMlGEJjmWrVAMIRz2Noslj9A
EcDm2QvtmaoFdCKaY6tz9eyq87ET08tXcz2j1WV/klZyydL+3Szi4piBeF36vvrXAQdMZ0uuXBX8
14lB9cZHnbfyfW1rOJrhN6NW+RDIsRZZXkW2gEGjHmMYYIbR1UjccSd6xJRaqkZX7iREAnY/Tw9L
htHat17nEg10XZtuZT6huANlWJ7/3T9XDfZFta3gyxjVLOVCbSOmUKA45ZDHbQ7BGInlkJYUkZc+
aTJ6YgQUQeew25fMyl/LsBKXteV5U7hQK0kkX04ObazslcGO2Ujn3Ytq5/qjTe4HjJEW0gtXVNBS
2Rzf14aoqTHhVz8/rE2thcqBGC/dr81yyuNjOHgwh5dnYuOZXedBfv3htcu2pkDWafS8tqxsAGId
8ERZm5Ls961tLkD08nRhW+UJLYbtr81Ud6ynGgnu2lrfXxvph9TO6qf1vWcLz2u0YoU8zeV9L8Si
SdfK7dosCZfnp5mTdrO+NzvDBinGCGppra8mw/4pLYF4KSxTWrO0XA2UqqlPNsUCgOSpYqw2i+ag
2lSGIsI/X52xmPw4ipyfEIjPNY/IpON+aqz5L7jF2wQS+lF2yEUoyos7Od9M9SwNfTI6ywsMjvRQ
FnZ4ao1ZnMNQkQfqkPmhwMTzqmfxW4o92592cp7Nibx2xy3/5FlhE7mcjCetJNTYjWHfgP3IP0cK
8Q0IPhsDLXLjSzrmMUycKDpTIt3H4/xiz7nhY8cJfaNM7cd27orZzyqNnzd3ap9m1/Wg2HZ6BQ3F
Ijv86eDwGPQJCnR3qKinRVUP4QrqORo6FY/NDhWL145nyPLzsW6qX8RmKkdLy6YXq6v42Y1PGnnw
b+Su/c5nN6BAj3N3Ge6ELT6rLkuuMpb41qaOskOmr76VVqyxaG13mqvbr8LeUxJLfxjzPOwMRcZb
V0nPkeL9Zrmunsxafpqy+NWNwqS8UzkHDcYoVTaX4CyMxsY6TnFgQvzgCSP5Z6BIlE6WCxWpoljp
cGMn1ehtdEF5qYII8FwUexD5mJIfoedtHhP+gjsxVQLtRzVH3sHyqHxCfE+3lcAe03QgKw1w4Zum
Dx+sf1xU35ch154NtTkhRK98qlDRTi1AxCzsLgFeRvBelbV57RjXcfxHJ/HEuBWt7R6mrMP+cISg
XAfgjMpBU6iroWmqdmjndexBQuP0G6qHeklBwDb4K9mb3M6XHNn5yPSIxaYdfVSZW99nnUmbLv3q
ULiH3O0IEFMOijmKh9GLf085oYvjgHcuUYt/Z2QwZat7pAFGTWD1or1RvNX2VmWJU2TloPKydDdR
rhpvMD9/DVZc/jVxwaQW9Cm7rkL8LQDrixJziKHtfBWTuiPJfcOzWmjyqYKlsrbWQ2W12g7hPODY
csV6CEsdpsvonUPEKs/YqGjQ/uID3IhtTBbDtddM9T5RWt16OrXutWlhpHjJYrzgl5M97ML7YCDG
Hu3+Ye0yUB/sHWlXm8ZNtLvXGy0sTwhES2vt0gwLw7c2TU7rE5bZ52gwM7N2kYdCCxe3z7K7TyGU
VlOWt7VFJlW0Td2QCJ3l5MjOhnp1e1pbnq51d6mkMAQcLOnXPp2MkGPv5TYqGp6wHliU7Lg1iBdd
nhC5yrRNqkSFjcAVrKrjp06n+rCcVJbDOAD8KYgGjusVQN3DKSxwgfp+ychNT5ivJl/vOZNDEUhv
uk8xcMdkafq9CYlGy2txSjPBTFe08V+7tfGVZu307Aj7OR3+lGTivoBpBpNhjUST5MZLOZa/RYLR
xHoOiFYNMKf0DjBGzRdbI89Q6b1hu16bG3p0qoipCdazg0qlh/h1ax+aT8z3JWSYespOnmAFgRRN
Pq8HzFGKbZWExTb53z59kpkfVR7m3bYun6dohOUVenh/m/tUSOPuFp1xT2aFQR9Oy3FtxorXHbUZ
esh6iTbYxp0JbHIy+XV93lBGHnFpPdjL06uo3kF3DzFER9tWKZ3zvB6SuGG0a4bx6ESx89zijX4Z
YwWZuQ4BrTAj1NEk0uzXi0EExQ0vOfY0YZsHsH6bLR/QuIXY/K/Xq7u/RaaEW5T9EKOITXlGS6cT
cdd0X821rzXrTa0xn60tQkyL/VxBsPtq6iHPmrN9CHHjunaNxkw5r4tVYj2q6L72TXN40nJujLVV
t0p/aK264Ar+6Hro7elaQg55/OpCBUmi1eD5hpPLJ8flNm/xzrIn3fSp7VIpNoboeT14qtirhTFf
1tYYus1F1u6+0FOZBHOzoMB15fjr2UIyy6eWDnTWJPHuu8/wkk9PVZn0+rK5aRJV2adDtujYqM/r
gd8RDh491ervvtAcXmupjg84+qjPfRTGD7Vmv39fkLBPwXmjafbffS5xZe349aJNP2BYgY1QYI32
9KDL+KkdvezCHJhdKKGfekQQp7VFUKat+utDLxXPWmu2x//oW59mNcWvug2jjVZWGSSf3LmtB7cG
JXQQBKBQp69UFUi61GLqYZOgUb3XcVjew6QEXvNiuV/7MpmDVcZQzEX+P4yd13KtuLaGn4gqcrid
OdvTaYUbakVyzjz9/hCrG2+f7lP7RoUCTBuEkIb+kOXroXDlFX3fPYrGuoZHa4ZKsaYD/8ll7LBi
htmt1wTlcznmTzWBwit6r+VzFiFyq/uSu5ahg+L10J2tRm+5AVT6wKc2bKSClFLM8lkeyvChCu2j
qBRF+IwpBO8r56gMXX4b9P5sln7L8+y010rv8pPTlw2ooMFLrqWXb9N8K8ldvqkqq9wohjcCPHKr
nS5p1rWNoGiErRtN9mNbfNw+VZqbwYdvL27eXo3WQ7HdZ08KXsJ3twl3ho/gQWSw0smYATi5Uhz6
wPw52ikItvIotx7MCckH0y236qZmDrKumH2kDv5CarIaQQmv+0CCSOryNRe7feBjYNfrYNBlqTuB
mHhVSivYe3wQCHDLQNIBKbetepZHtOZqRdLYXICdZEv7uFffWHcx2IBe2OSafEua+IgZtXQpmhx6
bNvZx6SFAKdpr2HVhSz/bNbJoD2T1refx8RQTgM72sQ7aoKJWrZK0qGGM7WSe5x0USdm+3bADcDJ
22hVj3wjWQxf5fau+JXzOInwDZAYzKHQ4T162kWvQnknYYyyyoK3cRxf2BHaBLWS7zKzts9tghsM
gQAOl2ToUIA3teKMaNknEBY9LnR1u8stHx9XVXVvbfqTy/gn5Fa0FbrP3drSNXZuM0m5JMxVE6OX
71rMlbsiGc8GgrOeD0gkkbBcjFQ4eUN0qJSuPJWNW26xj+w2lWV5l9gux41cq5+8Hv8AEFPN1huh
aMhjfjeAf9wLVX+VwqA4JKg1XpBJBFfCN2UbV1Z9ybOMKInawd8a3bVXDO0FIMGhKRFkrMtonZb5
3kl655hqQ7GJmTewtNL9lYab1rpsm4NRTIhAr1G2emdGOwDC35Fq+jaZiR50dsnX3K12DRyuWaPO
RgSPfmNWEnC9qK7PCik6CcC10JJgxd5ofO01E7aN/L2I1AFenV6eO4AGR2kKeGjVXcyolWlazRSF
btSwDxL7CLOkEZIRQVfLr2ryrTWlWxzD80UcZR2Hd9DLv0dbK07sv8l8CaMSzTX5NGSF8qTD8NDp
9mz3mmUXgb+xirWW+sGlSQvv5PXMMBKF93fw8eWJmxy5vW7qvXlCyMpq0aSwgleMeplgRsRQzaIs
9745fLd12b70dlSvCQXWPqHQGeyAtxp7S6Z19FofRwgPMo2SYlqWlVOk5BNEgHTdhcHPKslxyQ70
A9/yNgKxgrxVueOG/i5jLGJ6wvDsPmDKURfGI4ERdRWCLtu4YfXs2BUcM7vC/U3WsqNfMg6Gkr4e
u7Za5w0xgTJ9RNNUvrRBoFzqKbF0DCstSJhxuvJVz93qDUg9X1FZoUhWw9hrVFsviuw1oKxdkHk/
JXYeUGIIUBQilPGjNbr8rUbWnI/2oUmxsbNsOE2qxx6I3ENPdZgeX70KIM94Z0VSr9n3LHL9hq15
ssIN4DUOZZ+ft4wJQr0ZIBc/9A4B9lJtBnaFvSeEVfh81gUIJVduwOHr4aUHebnCNotZBYvCJpLh
8Og1wesx9namM6nPFu1Pz3YTBMo04I22GgNi0FOAh+7eH7FqVCHMrxoFKlP9q4M0GAD73VYOcL7S
tIg6Wys9reU1QtPZVs4aEMqNhAGLIkvIR6IX43kuGwu5/TwUw1Pvm9WFUGOyHpsBUbSkfoC9/ESk
uVoZ6MkfnUEFBaq6xtEy7ZPkts5Jilz7ZEw4nSJsvlW2c8kDhlm9khjG4qI4jCgsYaH6tQOIui+a
5iveBxqcYNPbSnk0XDu8ii4WweNsIhB7sfocW/YZ/MPALLt3uYPd155VO9END/hSGG5VrXFXVQaJ
IgkLAhW1p7PrlhuHwi6ylRGZ9R7oegYozjEA3fAx2EFmPlkpm1JqhuYW0rHPudHYRHkyZROF4T4f
an3floXzOXZe4DI1cu3+GM1yA+edb6kzQWSkH4HWrlMj8U5q7+GPWMjVhpW6c2gBnu0NcKDgTtiS
klwWbw2Ee8vICHrI+oY549Xpje4x7tAossghJhNta917SRPJPC9J0WXWnDWZ+R/NEooYNl83w2Xu
6HQGOEY7AehZOM7O9Vxn7TuorykMfWuWzCtV9ngVXV07j2XItimzj59xqm5TLxpO8oh8E0JRdyX0
fhmTQxRUnQu6xaIzsjrjQzwlk3iOnvbKRdbL+t619XCrw2nkJufkXn0vA6a6RRnvc8+S/XVs8RjB
hB2lmvVH08bMPIzgLYpVdA717NHQenPXpwHr7ylx7evoNPDQaiXcVs09tqro5LM8OMWuFWy0DAIA
bOzgbJj6XfU02BtOT4/C7rEDcUV8L9x2UnkfMagksMfirJkEzpTkIDBg5rQjDVUYWKJuTF5XIDD/
TqSG/aIWbdPMwS5D85HUcnOQGn3i1IRZ8GuwkD2fNgKkUd2qLrauGG7BkcAM1IFj7bWgsQavG1hx
upxLaOSCoPSRjpqdK314lP2xh9rhmpseVZr1MGWRKRjWrc7D0mMboJnlx/BKGqQnRwV0kaNnZxAZ
h26AkQJc6dbozV2q8X9K9TDaqJhojmuBmfMnAr8B/mxrdUMKp2C0b32sKEwFm+TBYWvuFFbF2wjc
6BWvDdCG2Te/C+JXOcUlxql/2plL5xZRAmsKFZSjykonpkNZjq1cRTLwCQNg5UgbV7RGAxx7tVyk
EmBPF6TAUKb6SVwG18qXoPTSYxLmDNl9Y20w7AYewpYCILhsXGcopgVWZvJemGudIe/aKVB6S4AC
+K91u6ji95Acca8hAdZDNPpvPlJwiI/uBqzlNpbVQ3Cf8EYAtDeRwtNF/zeW1nFb/mZdU5/rLtmX
fclnElRgZGFpLUeQhGp4nGV5tPwvWZprn5CQR5Gzf1IjzzjEnfQ0EgSY6K3yvtAn44Hwq9xoh9Dp
fXbrN044Okc/MG4hW2nrWEVWqZZThP80EOPm2dbV4aLE4Usvs0r1Cw8ZRR/K8GTSVLjo2kQVvwcU
6G1WgPCSstmZbHiD5crNWTgiHn43naU8A9u1kcaWBhYCOuO0MuHq07itNllsOo+wAKwHeXgZQfA9
aoARzNSrdkUYfcqZGCBfGQCtzNlMFdkxVhPmfHkCQFOS9lFj+8yftBj4i7FJvUZbF3nWHmBHZC+N
XlaHHrbIWmTVyKrAG5cGfqFSdWW6zP9TN+ZGzb2fgykN+yyMxzPCH4/tCNhbt83owUPK5cGrlJKd
YaQwrdaKt0ZpFvscGrjmwc6QIiTmEv68ialhd0gFWz6bjJm3ssY+2bKKftCIczCKb5LkofEBi31L
zRdMy+pjMmFm8glX54OwOOrWQzDhRkttkI8AI/wJSSqSQQ3eJElzt+HfRaJcNE+m16485R731amh
062SLCYVQM9KBTmtlIW3cXcDjpAHw38JK5AC7nNfefHOg85r1hrcoq5/RqgcdUM872ZdDYERErih
RGfBYIcWSt6T4IaoaNwYkmT/fbAr7wQuyxi3TFb5S8SheKONAi7ZQRxGIxEkWFj8e12Zgfa1axUF
oVzaDxOkkLlscspa4NZehdeDu4okZYojUOqBxdqyq/LFktJNJHs45P7U2w4U83TjqumK4mjBJ5pK
JI9bAVUUhf2YDMlBtAysmjuDLKL35/x6uohopfjysDKtJN6IvzJCa5oNWITPJle/vVfJe6EwYjlr
SO7dEQznj2Z6fr0eWIcUNWqxByySSNx/cRiyRGZLC+M7kU2SYu/nkor/zPQ3peA+PbwzDuInxZ+B
87IfFB3iJG2xdfL8pzgv7j045tNjnJ+wKBR4qdRl18WYSKNLWZ+rzR6pFTyZAH3M2F/RG6DdskPd
D3G/ldXym8ADi6QDRt2U8OuIpyI5khSdiRlRYcWM8Xa1FZveM87Ll72vLczFrVP5PFETCdFdHVXP
4tmbkf3QEffZjaXGsG50AXp7TN3Z3spOscXyr/bRbFseGthhFQh15W3E4xJPQxzleHxGK3EoeoHh
qy77ys3Kydr0hK+jA/pMHE4JRAT6hrQv8HpnbOmiESACMGeshjECfXcozrZwpACJbGvpaT4c4xY0
lBkcxO/1VUWMutqEdfRp7NWTuHPzXYJausqMeNiIey3uSlRnrP9rBfGVCQMgnok4QxyJsrk7iLxI
tBjHkKrxgWgi+tg1T+LBz11T3JqlN4iaksjnqgDDvhG3QvyRaltyf2ovU9dE0JnlGsX3erINQe5y
vr96arUjwCttlzAboNc9K0Vaw7T1d+kI0blWhyd1GjrEZzsJTWs/eiNIYOz4VjJ0TpRwK/SEjCjN
/s8Pv/sbxCG2V5DdVV+dW85PDzUZHEpbTd2IIUB83xvkxg8mgKz+KYbLO9/cGU7x7q15B6r4eAc1
tvGyANbkWO00P1XGbWj7X6UmkbfLHWYQPKmWDaV7GVzk9jHBxHIn/pbWLR5ic5R3aDS247pK/Evd
qRIwj2kcml5rcaY4+tcyp8lHhAP8aCN6QhvGO6YwLF2mjqD2SDvpcKyX7jM1MIuRBrq67pBgO4ge
3DdGdxhSg2VJsU2tDuMjewJX/uvvmll8dH2wwk6qAVeYAClL3xvDq61OAEYtM8tJ3obhbRqWRU8S
2aUsI/ozjUiGOlpb1yo6MCvxo+VJjJGivUiWt/VdF50PRf1YON3BqfS16AnzKdgK7KW3umKDQIyF
LNirPQrdx+UNX/qyKBNZb+qFctvuKkB6e98KdqJOF51dtFjO/9gFRV48NXE0nyPy8+GHepH9UDZ3
27wwzT9DD7ZybPDH+tGDK7eKgcdkMSC31gThPH04VAeiqaeyUB3UHT4U7NMzLxBPvDNVjEGth3Ss
7xZzA9aHF5WIxShneGxH9xRQSlc2Z2PCqo59fk87u9np+shUolLljexlxG5aBGZWbPDuBO9gSCe7
SH3syo0X5A8W5sXLgxe/KrLz67TkReHSTT6cknVxfWixHxSdUSTlNFyLIzWCvqSHcJ7E3RcXycAz
DmBW6HatC61+Ld4SWO2UisN3pZ2tfU4NRJTEumXANXgLqe6LKbgUPjesCaX4SBwcakg44Rv6SH0N
WuDuyJhsxT0WiXjs4TQ9QSiXNfIQf08H9eSEWrKTx/4c6TkCZU5zEIOMwqhdw9nNUc/d+Jk3fwG0
+iek/OQoLiievDhipK8nNowZdD/HznnELM6eMctuZD67eJ7tUtEjlsFAVmTryHnL36fWvbJpB4j3
y13ME4uRNJo+M4mdGBvXgC4kSCXwAj6DS9aYiTvIj4om7K1BOdHQRekVYzvrmInJFnjdYj/Y1nEA
mMN+7h56JBrFgblOcAybZ1fzKipQvIw9N1WZB2G41LdSi7SduL74u1wz6I+1+jBqab2Tde0unury
aMVR2jQ/Qm0IVn2WofQPhfzPAm0ZOCTx7Rf5eWLH8jTHkYblAxj/rZKYKez8Ou2uCLLrB6BpxUmw
drqgKU70hd+5nyTz8xVPYhljlgfDB/pXDD1TH5xyY0CQRhbD0nA4yXgJbEbwDQqB25xbJp6M6Nae
TOzRAB7sZviG/D2YiwbLiL48yblDT+P9chOWWnEkmvz/l2Ku1sNeui5DvfhjRHaeiy95cTQXjgG2
H0xoEWYQE12pMQ8yHouiifjZecolDnHY5FWbD9nX/gOrnz+U4u98N8uYz81Tew0s4MKGIPYYfOjF
/JXNEULX4jUZM+Rg1t6gf0VrhXiy30aHrPJ9eSuaz4fu9AUNAIM0XjzP40RPFTO6JVnKhjFhy0FB
KVIBJjZNwsS/syQzSlLk381l578+H3uYONc+Q9et5bgCnr4z2aUa1+j1ZmxCfbfFH6KXJ9VW5aOY
lolJnTgSyXzpaVoosmwEoXntQQBZGosmS1YcLcnyGJey5Tc+nBukrw1CHYxhjJli4GwAAqQHkRdv
Hnc8Yhk/1c9//Jgr2SqQOvndNFI8wrnnjd88iPZH0V0DlHQBTU/PwG8aJDdET/nnQ3H2PFQByqkO
dh5vPlJBPJgiyxLuAydEEDxE7VKxrAFFhUiWdiLbuT86pUyP818/9eSZ7LG8M/N8Zu7MotRR04b9
k7/fO3E0txKHH/PipPmq71p9/IGPZ0kKGxu1+aKMSM2KcWWZPYhz/6lsaSJq53m2OFwS8TyWrDgS
5/3rVd8tZ0Rr0fDDT/1T2YerfvglbxrwMZorGx9G3/SK4+HMXkUxzmtV8cKLhFAK5ExoRCzepzDb
kixlY4InKPQ72hS1xuHcSAy34uJL03c14tDVPRBCbMHPPVq8LOI9WV6W5aX617LlNPHeiXb/VPa/
Xsod04ncn4Wg/fqNjUMb09ppLiw+XEsyr2SX/LtYxT81/1A2ryemy86/IK7zoc38C13kXBSp+y03
jr8WQ4NYg4qj5RstxpAlK46WCdnS+EPZh6xo57YIBrQ/lBJJhCgzIfLxcrL3zvRWdOH5UJSK/Ego
m2V1UiQ71cmel+EdMBW08SUvjRONXOTFyM9cyCOiZCSGPYeOXM+ox7UYHoj+I8laoQz8h642Dxqm
TAxBjC5ZPkLCRPxt80/D7dIVLLHoX9os3WAp+9BdRFbU9l4VE7KwYXp18qhvGkuNx7VY/0YADAgX
Rf2LV3fBbn7jxU1ZknlYXfLidv1rVlQsr67IegRS/gzfIv/hCqJsTCKwE0rEa7QM9vPEeq4Xz2c5
s8KrhMVbcjQIjGhThOTdynFpJs4ViZgYLFlx9KGdGESXsnf/uKj5cErnFNJ21K6gAh9LqBS4BogW
RMo1BSTH9OHKccSrn8XQ5SZRkhzEncmjNk0Oo2ytqsQyDuJlX57o/O6/C2a+myosTcWReLxB1hLR
mxvNQa7UQvRECwNkUlS0srvRydmOQc1FGW7iFZ3jlKIH9KMaVp/Fi/wnqlXK3hbrbLZOKjYH0zQ5
RkgEwxKHtCaSsmK3crXkXcOT0D/zjVU+6Q5bo4EBGQPyEvkwVMXb66p7Fpxtgw2AQEa7RtxV8VzK
BCqTWmQveQjPRPDJ1ekBjzWiO/Ucz/xw+8VNffeI5qXrfNfFmkUczq95wObk6OjDVtxl8bNLIv6A
JStu7IeyeVUnaj6SOZeWonr5l1TfV9cm1norbAyxivNS963Jwn6vIQS4VWHMkoV6hgBpdsRnklpD
Ze9Ms5DpmWodB5inGkV4N5Xec6Ake2W6hhyVyTX3ynolWo1N0h+kMdc3cpsA0uu6bFUFvOoicRJb
X5sOAE8FTNEljuydHPhGukUyCMNlVvZbopKghgfrWKle9QAni71mRGMhnicW7kWhfInd/mVCtD95
yMA+wb8pN6jG9ahykBVlCYJHScT2RNmjAhGaRfwUOhbKgnpzHUK0ECxgCzuVvf29Y7jjY1xUP+A7
Hlpdyd/6VMdVK3a/pjlT8hIf+JPrySDFk+qldUbjm0O0np1d12PDQalRx+m6lVeV5adyBNPLkjx/
VeXYXKOoA7wqQLZLziZbAJ1Q8pgaBfpNsrwpkAhGGSoHx40RY3HrpxpCSZgJdDgK+JGyrzIzv41D
VNzEkUiSLLPQPUtThIUJwhtZ6G3yAvkhd+i+6Gye7Wt5kvJL5ELDjgQljs0UAF7ZLiu3MAtRvZYh
fGouRqIyCoabOsnABDl1x3q4yuwTSA221xyC7TWqX0M7BI/dlEB0CR5dOfqKrKZ0FEV5gkk3uouo
cmUIn2kGuzWW91ihhv0osxP6GEuKsh763mMFQUVoOkCrYpN7mWIpiofsaui65qZEjfMwTkmZANsz
6Vuwq2mxVPhqEq+V3MIVrWN3Rh8wm+t7FV0Y99cQBeNtzoHmQPnXos8t5xeB4TygMhOsC79eoXuq
bS3F0DfDUKVovAGmzzRFP5kWUGdgrcpGNdWoXmEFjwwGDuC54+eXAqrdpZqSJUv/3EcZMdQOaSMT
blquntJRj7W1omvKSSTZ4P1VmLWFtB4cWO6OHxNsRtTgpXUBjNpm336JuvSzxlY6uHDo/rxbOnxm
kImgFbIClZh2/MV25yc/jdQvQxWBVkAQ58XrE2DX6GA9jAp7ycYQGefCTtuT2ob1IY7D7MYjUKD8
1/JT1Ut0riTWr7LWvpSoBl3tIHrozKKC+iqVT2HLxpGF2ONWZEUFW6GvyK+n27JftRh3rIapeajE
mPKFYLmm89jBpsiSoN0yZmzenWykX6141M/iUmWlKzfL8Q+Qw3DqTJBF2/HBKTbLX1B70W/fH6P5
uqU21g9VU29TGVmbtYvFcuslzxgVjgTts4q1sqmfIVpUT3DP2xuh46PIYbRbP2FaBxkq6RFrmlqI
MkvLP54U2S+yjR4XroEAtaH9ELGYDiUYdBf009pL2RFWzmPUTkSFhZLFERnMCDQbt0LVpXqP2Kay
Fllxe5JYnj5VFpiw6f6YfQ/QpZgmeuHe7H/P/04cpe7ezEo4Z9P9Q3UaRF4yOPjT02f6Tkc5RRyK
pPBGGO5LXvS2vkZC8l2hqBY1DeSOTfcAcAYEntetwHVhqZAXDEpq+bksPf/Qmp2HxrtffM3znagP
O7/cxSqqTcUoWQSsJRu3cOKBx8oLvEszJV2E7omtuft3FW0bYyfz5rlmuIXCEJ7zPsHDcErEkSjT
WWVj2WCiqBYqQYXf4L80FKfMrZezmx5zwP/llNjuwFfIyv7jZeomQ+T23t9ymWjg+sNfJ1qLHxmy
XK0ucT3xKNh21I0aBiyKlNdgSlIEJq4iO7guioWB20Fel0OC61N1LqNcvloaiSMc9M58+Br2kTk5
tImq+Hnh4IkxSNLJejOA4qMsJWo/nCqy4odrVEcPFkLg86ni196dkaj6tskBaHysmP6qIQ8hO97H
zPwcY08Kcmm043M9FPHZ7gMAJwrKm03CPqPMbsU2ynzlWc797mKr5ffUV+TnzszkZ9Uvbw0D7I29
aZguiA7y9Ws19L+sslbPJtCSNzvhUmzm5NcYNYO3oJA+wUf2HkSlnntXNwvNR1EHUngbQ6h7SqeW
ffkWdYr+orhB9qpER9GEb07yLFcV9MubX8bDpfWU+NpPCeJ+arfSo5JDsxpXjNmg8aasaAPRlI0c
1/4lRx3upTaxS5hL8VvilOhoK1q9FlmtrbqDhmvqJtcNFPFXptG0T9hYIV1k9Oo2gFD5VrXYIsjw
9fYTv/INKFi+MRNXP/RYZj7mZv8ChKb5YuTfRruyPxmSXZ+SPEA6yVSbL9UIkEK2jPQRER20dP32
t2eZ9RcgW+pmDHERNyv3RQF8hoZt3YH35Cj06+2INSx84b+KoEX+qfxQphoWqNhkvOSdU27xa8tR
mLOyl0QyzFMVNwOa2232osKYfsL6fSUqJWBsLyAwPsHkla+iyHQr9hfsLt+LbI+axFFxhmgtsmVo
648ju3QiJ67YdPJVRutNhRF99oYRXEJm+Nq5RCsGWnTposJmpleC7mGzAYuHrCfSstvC7ayTqGlr
19nqSmfQ73A7GV1GHgRjgrdWLto1HJ/gJLJWIJvAFIL2LLImRkT4QKruRWRHafhm882/idzQJo+M
1+mjFoLvcXvv4AeddI+TWr4GLjRi38WuqkuLR4A+W2Qn2nvu1K9RWMtnwArdXVVrXpUQVfkisi+i
gShHF3GXS2VyE0Ui0VE5CkwIDGWjYria4R6bmN5dNA+hoz2m+r2qsp3d2AWGheUWGfP8bA5Wdg4a
yHKTWHB+lmSSqilsZGblYRM6LaLjZlA9+IqFFfhgvKAQFn+RjcLZopuZH0QWjg6QejV7y/UeSUqt
BUswNVPawV2h6QeqJu1xV5ZrgOJF/AUUdbKHjm/tVPY+vpiGdk5tyXjW/cS65pEBwGJqVg/yrwG0
5JFPm3JlWqfgRsSRPSWjErtrIngV+N2/ypYm4siQ6l9Fqyr7fzpfrQHANGb4UPZjdeulArh0ZiN9
B6pL50v0K5XdV73vzLfK6tEHStXskviaibJxEYOI68ZPbWHfRdNeiy9loDmfyyqVN3YZGtc4dzBg
KUvUUtCFfYWO9ENC/GobZmsb2NBFznmp7D781igAxAzNrh4cvfFOkmlF+yD25WdUVcqVuLw1fpZz
p/rRsG8EjEgP0WEctAMx2xzV3dy4Oyaa47zuFsKWSrqKkjJDGReNqkvOmHoxc3/Tump4KhEn/1Mx
txHV+VIKjwTwMzL+G3n05HAj6n1wjxdxtdCyKTQL6ISFpR/nrKhWHSXqd7zawdzSU9S7oUfGXjY7
uNvLJQxLP5vAy0+Wb0jbWMlUbKk662CA9z3idVNdFE23dmaUDI8DPi6btparV95GGeiPbX1l7nxH
m0f6XTkvdhcxJe0zY3d/NutM/wEnEbFInXGe3sdLm0QWJBVv3JZFUd5CtS4PulZ0p8CuDdx93Rxb
gsZCHwuwKgMfzEw1RxbLbd0vode/RoEu/ZJAWs4/lKQKUnGZ8XOIu2++JFmfFbNKUDtWxmffRBuc
KYr3AIXa3ieTqLgsufG5jUNjTzggfrChAoFxrgziZwxkpjv6XxiAv0I+lH6qHj7IoJOYYTMJjzxb
/5WgjKw27YuHNUdVP7UNmGV0iqsXp2ZN2LSF8gBuowGeg8MSvCtrQ3DNdQ+qquFB1VuTpIEc4xan
NMlZHFlWyRYgEgjXJkLWBf+aJ8XqnJc0dj4rQyhd9dZxuAfI95Z+XJ5EttFQnkutsDmqYYswlcK8
7NjkQN2yynZePQjpq6Lz5Wtb5O5rUI5fVMNTbyI3TghwSzUeRFNHsc6BYriPIue33r6O8/hJz1T3
1R3ZS8yM6jnXLOvV3fduYn0J+VTu616u91bdeV8zdV92pfk1B5GFZU5RHjqvyz5jc7dujcB+Yh15
weQhu5WuhHi+B3mjaX1lNZdNFUHGjjPOuhOTpd8jdjTwEiG8pgXaL2F3aCCm5lte87o0qLRS2xRm
Y+w6LAVvzZTQMYZNhTfyRmRFBRu22a0acdvCsvoM2Ilf9poCdAOGoytid9lNmxITKd6zLWnX1CrG
J6IAn5s8GL4OwQT0qOFzoAOF5F6sfg7Hbvjal4Gx7qfyYCr/7/Y2kktLe9d2uQ7wtHXl2Qi+/XX9
pfzfrv/f7cXvqkUHc9vRt3pqhOuOBfs974byrlq6ujenMuQyyruoSFn8zmWiCUKR1T2fyj6cy5cT
OSvJ2Ycq30SRGBPb0ikqeUfPSP6UydhHO6m+W5qJyj50nFVZwjfw8gcpqQ0Ik3C+eqXsvK3Fu75p
0bHZJL2SPYik13leWfumrpSq2Kp+JF+8AiIeg5TIoNAuX+opEVlTkyDdz/mk2LQs19B6/KtWlC9Z
cYYoQ9vunAYA2pai+UpLPmbQG3v7Ied2fWux/0CRzPkSwWeiU+Xp0XHhkqq99TSYrfNNQ4COaKHT
PRi2jeFohN5KFssBu6+wiSEeH6tc2mmqM35CkaHbN1xVCJ6+Qcs6it/wE+B8bVEbV5ywnZvbKGx0
TdfGvOJB5a69ghsxcB3QtJ1a1f1JLX00uyfDHeGoM5vrGH4GOZfFl6gQSYtW99YGZAUTvbWOeqzn
iOvU7j2xIumOQHSzUQ8ONmLROKLpoqEdgwi5pa+YgsCLCftyLxVJu2fxhyy+9rvQ669IjHSfghAn
+Kip24egapWDHNbJ0e1j/eZ7Kp4YUj6+xX78G9Bh8puTfezgT5Kuo46F9e8dP5m91jferciq6p5N
iSYzPfQz5BKnBpo6UZEqIBtGnd+UGF48ksnytnOy5ibai2YYPG0xjRwwQEOcJpo82YHM4yXbRncP
sQ581ar4EdEhDCIMjNG0Ru53+KCVN8Nron0BteYaJZAqtF4fL5YNshh2vHm2ki44ZkgZnx09MI6E
PbKTM4zdKSn6/ijJQX5OtAxjH7cNLlHlIvHUWfYlyge8XkuCJEETubuwrmUcGORyZztZD9EV0WUE
oNpH9ifybRxazd1F7QndYLCDjDiggYq2fR4brH4wd+5fAgN55EZftY1PUMrL5NeKPei138vaW2/b
aHmje/oJ75l2VQRDf3XxoUKCOo03xeAHKGGhH8e3CcKHG4/fo8reuviRfWb3ukLXJpi49mPwDJb0
d2DK43cp0r4T+IVebngEyj1b3SU1H2e30/ftdAU7xL8DHFiOxUPPgsocEOkEYvI9A5eoNvo3B6wB
S8CkO6ON2j+WGKlPavwjomvl1TGGBilk3gBWRvkhqRSEZBDv628hai1MyvtDqkvBiys51s1SYNMK
I3hfb6HcGW53aONu+KybrJ0UxXuxM94UZUgzZAPk/nMAAHDr5V17EGepYXQstU45pZbSbYglZicY
QSFL1QkZbDgYcrj1ai7SBwQRRRNx9K7QnGpE4ceapXmfCH1CfmC5jigrChseGht46wTHwJuR11g5
1lLz1mBgeepdOUG+gluSoLdN3LKD6TFlUbRztkOd4XM5ZVV9gLSkG9lRZN24VFawE8MVJg+Q5EyL
RcGUqKmP31OuD/m5d6ICBwuORLK0EUeiDKdxWlcqEKUuBY31P5w3IhiVQ1D/r2uL7LuftvARODIT
Wr0rW04Rv98H+XhK4s/V4PsvjLnuKgst46i6cCvaVHuWHcvda50vrceUx2w5WfhoFtlB5MRJuuY8
103iXA1DOiBdNN6cpoJSWKf1p7a3ipXWWd632pNeIBQ5P3VF2aU2wwE64GtPSdWABojyNkn4m2DG
A+og4fciKEM+O1X9ebK7X0dGk1+Jc59lRNyvEAWKa6oU/g4503EV6XJxXSpELROsP+10LHmy2lrL
zRsQGZybpyuIU0TDJduavbWyupI9y79/5MOlpT6CL6S6bzEYVQQzpx9ZLiCycScf2PwKTxu7k6xL
03sYEGEdiuOL1PpQSFTrUUfJ8TE2p9FXyUAY6L49l8H0xVIptg8WoYKrJWNcEspI/c/ZqQyn7u4a
TIkoA4KpbPFFYxdkql0qRDtRVpRystM7XAFEtja1dBsgC7NpwoHwflF+DyAuOJlcflG8Afpbmw9v
Vs6ivRwq9zkd03YDVKy9q02IGqbVJw+2hqhKiIjbdTDa7pCBqkXBMQCzj23V0YgdNEGmUfw/bJ3J
cqNatG2/iAiKzQa6gCpLlu107Q7htNPUdc3XvwF5383TuB2FLMmWhCnWXmvOMUdLja9Fptb7nLXu
vQprl44B3evMbBQa62X+zKeLPHre9msqIaCYixAfZIq+BW0mvyozuFFpZIaQcPA1pU1KKf1cVp0E
30eTgYFG/zPNziUoivLLaJNPRdCl5myJgB7VkGkOpGEJUAsmSM98ycfnoBlbmOYsILZnJyuqzlGO
FXB7tiDC8xIMS+tuzyZZlJN5CVNue3buZHZtFPGRrn+JiUdxlzX14/ZcImx6ToCWqMnju6pTlWtC
khD3Q3OJ77Z7242ah++Lrtanfw9t90hDjfyEHJ+/v/XvWdXKrUPCIMrdHrPaCNyk3eI7BQ7q/Xvd
v/dRx/y2FaW8CRad1y4JqVQ4kR6n1KkYEQUMT7RMOzt2r51VfFR41mPtkC2gYrYntpvJhhrkKetr
GkWZ6/2/39EC5ataKsh2//tn/vMS00rwkG1//N9fG4jp8AZrrvy/f3d7OsgS3uI/r1ykonjEYQnf
kA5GsPXPK2ODRRAH639+cXvi71tuHzDK1WDvCPHy9zFj+wT/3nx2UnbBwOrVUxt1/v/5nf69+n/+
rvadh3Ab/n6GdSts9/7zYdcP9/czbc/8fdO+yu8SwK5YxQ9mZ6vncn3Z9oJANLR5trvbM9vNvG3+
7a6we9AN42+HidCt0o97qg3i1Kb2tk3j2msIsAhjrGZhW3yaZTvD0EPTOKgnGQXLwXL6P8hyZz8D
rKjGX4OeEh0pJHkUDnwwZ+xPUdZ9N3ng7KmZzjYI07jWY1+T84qydb6kQkR20rtKw4kc0KwAh287
9Bhb0q3sJn1hnXnEhPcs2sFxBw47uB7zUxPUiIv7Zy2c+GPY/CBip9dBbS9Wgv+yRvVEQ2eX0d0q
hf4ZleNFYeo5l0QiziAYqnXgVyoMHVL8vkd8xCxTnfQcK9pD06XKvZqw5K3IM7qvg7OgFiFebn1o
nAZsUll6+/cxjRAXdynH/PTvt0I6eX7egFwiN1W5357Ag/bZLTiu6m7Ayrk8tvVjm4nxfqQQ6qwG
FnrBknxckIwAL0v4IOGzUhGyQkIOsQd1b0F26CZ3wmoqHPSGZnYdtIkEsPVmzoKHZsTHn5dnKxxN
VP/clHSLPTxm014vYY1tjxUQGA4LKWs0TP//Y/1CIQHSVD/UpOiVthnc5esNOAqnsur7ToJryjq4
OBM1zP2y3sSZUR3t2Zrd7UfOIMZ9Ao0Cw1D796F/j7dSvMZmZ9xsD9lKrcMlmxbiQttytz223Rh6
oDMmgtm4veQ/T0DMM+b27xtvD5t6yXx3LovT9sbbY0E0utLpDL+bGybW64fcnoxTtTibEgDh+pBJ
W/1qWYo/hlHyUFa7EkPwfadp8QMz858proPTqBm3gMizy0RY1f12Yy+w/sFamft/j2XzUBDiBpk/
VZVEwdIYGGRe9zepmZr3NPvNv7/bx3K3lAHpR1HXkqJls2gLMjKGFrOyD39/JiGp3jdlJjx0vjwf
VaZ+XovnpLXvFofqYFhqZkV1L+4dJ1XuzPgcrj8YcfI/N5PZvPd0LW9mka3LQvw+pP8hzPj3uimF
cpQtnHq3P2SppSS7Ir4n8K6/VuXs/92jlioO0Rp3LlTk9q5s8vBB0CR70JPysQrC6by9bLuhJNNd
YoGq4/bj9loNyrpv1ijHt9/aHsNRkWFJSG9Zw02eo4bOfVYYzj1c7uXGMPqPMGighKyP61Y+kCSV
uEFi4/zfXgYB88TkPrrdXkHld6/GmnGOF/a/co67oxI68h6zqHVPgli90yKbLINpse63J7QOuKda
MZzZftyeAJgirnVGwUjyhgI5NuoYJRuGN8Scf9PBvPx7bUTvlDCz1jpkep3s7RnFBDjL6KHCDeET
z5LuDAsymmd1dbA3HANyOPyWB1DP8YPoWryhRkr/YKIfahsZoUJrlsl2Q+2ykJZFmqe+TFQbVUgc
nkJYSLCS+gLAw/9zb/0Rvt5r0ZHlR7aGg/5ujVYJCIe+2e4R15wzv77pVpdQv0oYt3vbzbgJJdcb
FrUIJ7cHQdf2B0dn4j0lAF/K+Sn6K7xadd4qZXfzpuoLbZaOVexqfPh3Q42M1WH7Od9cD4PIX8Vq
POpXJ02zfgSyiXAeyc1/ZNaA3aBB0hSAu3uz3eh1Ny0EHDUrf+N/7+qZ8xWnOgyMtgD7uD09DAsO
0e1uAnYG5H+aMOYAnM/QDsre3y1mz0SQpHBGElsyQty24t+ngb2c167MAfYJcQc4zLAviJ0yGwoW
u/7P3IvvAFpEVtaHifgv39QeQ3Idb8p+eLPYrOeYOLB9p4mPaBbOblpVtSl/pnTOnHHy3fZ9/23t
7d72H2CGFe1EyLZSSEk7q73uN2kojh1BbTfSKKuTZJGQ1knjKmp/GIV8zvjWpjnh0MfUofIfZhfQ
GmpyGyD9oph+0mBiXk1pxaq4ttZ/1nYvB9qwq8GCcN0dtJsWskVYSwZdRgWJL82my382DBZltpt0
WhCKluYpSh7Q76fhVkfml8gjZWeYl3Jspps2kuPfG0PE002gr1sunz9yTa9vsPzWN05RAx3f7ha2
M2i77e4Wvbrd225SK6hROznQMFbtfLnGsVRGjUGHouP/3LEqxypOcQ4IYPWIrl9zu9m+8L8f+9yA
LKORmxmsHqZl1Shum6PcPKfb3W6h4VXk1uz/+89s++m/H7d7jjYSb4WBl5N3CSeQG2OV/f27MXsR
HXphntNVe7/tB9tNvP44MuLYL3F72R6qApNwh9CmGtliDYYt0UAqA//foSx/ZVrbkD5qFHjAVtfY
37tWr4+nFMgXJnm26cqHqAUxBtvN9mMSQyHWYuWnoaQczwRDdu7SWgOpKEoynS279A1iurpymt0w
J1o3Ip/aV+2aVYyuBgd6P99ONj1p1QrWpR4hN7YkcA4r/czofKfnA77R9DYv68iFUcagdKmii0QL
cxsGvce8vXXHOb/mGpeIwqlN34GyelbrzuOUUTFCp7NY1f0J3MC6tF3UB9z3+nEZSRCSNpm01mvX
dMVeMIRBxd4PZLG04T7uCKIUhasMOfMRZII+F1xOGsmd0DXpzdqs7AKlIxZm0Pew/8HTLc+GyE5F
VdG/I5IobsV7PdZkFs7ZHvxSvDMx+pVdf4nCRnW5OOJMjsrSbzFkRP0F8Ct6koSRrqIyeg0Tmip4
qTygbPF+rNeM6M5AhUuLguG0t1T6SL6x3foViIrWptc4TD+txYaxB4eoFH5/GZxLOKeJFxOwFRSJ
CteUiNJYo109qIBvjQQ6PqGZ9fCTBDiyVZRU3rSY9iGAdaNU3bHTIzYCHLpYSLa0iPCKt6NAFzO+
OPbauiQIknqs/ba4dK/nFk2DHWPJU5EeDGXGCKyg9+9H5UBFsXjMHz8onqOdPePfrxSZwiZCpmMv
1J4Cb44NHg35Jl88LJz5mNoPEwikIxNP9YKYlvQMmwQGteAfXeHSxTPfhwCD7dBWydrqBcwpXE+R
8tMFZMs00+26B+mJ7G6zaPlj8qRXtFwoaxbZihVcS73/qnPoSDqHqKeNA2FN88i8MbJIzFET4dMQ
vZRpSwKuxCeGg9vPaCcYAlP4kqqZJ7sVKQJr2Z307jXgeuFDeXXJZSYfNGeEY/NesnZimBDL4KHK
mSF6mbd9rezzsA0eZojrS23/rjJS9UI1/JwHZd/ZLARHbfDXAnCQRnRGK7c3nehbgcPqlhPZxNq0
vDk1DQsakJryxyIiEa6REZ8MjU6ek6gPEBdsz5gzP4iGp1mz9wThIh+JkGIpQmXaygpJSb/SWuv3
Sz31/hxl1V6xXyKlKFwzyYNdkxX0Z4Zib0qlvCwRf3Ds6AzGmnYXTkkHmnI+9eonK//Ic2Zr2PXN
Y5sS1dqQ10U/fyed6l3rBvAsAJJsg9DjbnhBkWsAO0oijxTP3KUa1LwF/qrrEJjqdvOUu4kVHU2h
qO4Asksm4gWQWC0QSYL5yqiPatUvEtJXbIihqtYfNSM0eW5+DZ3hMwjrBqhT+Z0sb4ueAl/Loi/E
ubnf6s9EKD4P6CWZukBLHc8OyNR1ttFNve3Ta5vm3qJlhghYBvoP7RsQJvI9Gc1rOTG0z5yL0HlZ
ro23hkr1zzk92Q2kDndVewmWngDZYj4QzytJly2i4/yb5Gz61U9p0X9oPYHyajffi4TKv19WXG9J
I5BodAZ9gjN0AWSyRzMM2DBkn/CasgcIlnwObCS3qQgFVgzlVE0UWZHQaq87sO1VP7No+BMpcDaq
fZObwQPZht2O0U7iTbX1LKfcN4qeE4EChjbL3si4z3zNYeDdNl3stm3+il4Uk2PHGnpKY/KSUG/K
hiDhNScWZfS0a5XsBZj/A+g0221fBwmBro5TfPfjyY7171JJv/NY/2prg7DABjK/yhqKDvehGPt5
b+cMC2INLbudoSOK5vBNows65cD+xrl8VJP6Wq+NqmJeB7F/jNYiemHkA0dIZdtBuHDvmt2kyNXu
XN0NUeLGpaRbsgp163A6lRoXhRyNkATeB+uFs6YMvUQ7NXl8ZyHEcKusvOZp+ZMb1qmu5Wcbs/Ca
xH1kZ7kv1OyIUIV+UNCR1zIG+Ort8aYjzSwEVe3XKNB3vZFA5BmH1JcKafS60s2uYhaTHxjKlw3Z
KAoGhOixsROESumdJQ/z1DwR88YYOhcHugAHc6GTGRXPxaTuBaneezuS6IfRrMQmu5lSvjlqmdwM
XhjZK0Ps12BE0Mazl3npMh/+zFPULF/lJF/1cn4YpKfnst7LcLpdQHOmEvJcS/6kJuVtCcbaLls4
g6XORE20pzQIkGnLwxgrvh2Tdf8+x9WHE2ZPsuovk0TTqI4vUZcdWzQ46cQ+kXTtHiQbaJrhEgEO
RNAGGK3JTD+tWIErjW80HJ9Q5c3sWLflSBN3hhkHHxpoANkVofkxd9MH2dS5a2XKc2sDsuli/b3N
068RnJ5RT+/4y/4g20UXaxyWIT71In+asZF7mVr+qnrg5TEcpiFFUc32eBSEiB1KxgBo/gx6R+1y
YAAJTK09hX3/QKYRGYI2/fGxs/60ogVNwRWWjG2i3gsB8heAsquIkchLtQDblF30rnhIQfO42jKa
O+E4h0k6p/e8BdAHbehUTmYHbz9FLD8jj4jI0SSN/UwoRnnFN4yEzwKbrnNEVgGdHbrCnfml5t0l
Vce3ng/F0u81RoQB6TN7cRrlzJnvEXFZ5fa9xaYPrxrJ9KWpH7pkPE5lsG+P7VjsWzYLJwlW/swO
J5fZXkz9P4ICtqprTJfq2JGnprYEi03OJS1hffZGyjyl2I8xR+9oB3+yjAjlFH1aMTWvsu8uutPd
93bmkefwUHXhh5mzbsRCRnTDmL1beOrhk5aDx2iGlAdB9OfCvsFEAGx8QdnQaCMVzbSzDRWBcX8Q
rDNODqvlMr8SPdpQB8QqvSoOl/5VdjSVl8yeXDg8d1kytW5tQQRUBYIjIw+fSpn9qbqpcfMuG/3a
6UmMxHTYROppUJ1flkEROUeQs4twOBstVXbVBx99x3G39PpeAvO22uHWoHsHOSX1QdxJJWMaWgeg
RNFOgdx9hUGI0CmkhWbQO2wGg41ssRmJPFk4oWu53+uWg+Hftt0hGXM/f2xzGFFDqqh73YDZ0Dbx
LwLguwC2PRc4KskH51ud+v6iASJjNWYe7aB7UsQMdtPpP0QHaXxWYnQv/UfTOvtwACnaxmQUO6nj
Z7QIGgYcGcJ4v1AVDh6KsFokXh3SEehVNadjnR7zZbBPhEy+WjHwHq7g/VB9ax218TxyeJbwdZL4
IpSShLkRhmLC7lLHvzROPz7uJFRN5PcscX0J4/KHkNHIFVrPWMl4DlqboJLitwa5zl4aXBIaiWBB
bJPPWdz2YX2WFIthV1wHh6Eh+SKgrm4xEL1Qa7/YDC08M1yzIvTpazZZAaT2MF1th0uNnP3U7teE
Qa7mkgCppIWjWr+mes3RMXqyWdQ7c8gnivEsdYVNDSYzdBth/DPQz+7OZrkSsswJ3ts0PpvluNN0
c6KwIjQjtmA7yP5eGafqFCvpvRFSkJNJW+hmcTDoTNX1MlLQRsMBk7bRytynIfQso/A3fCvYqSma
vUirOQLYaZQfmn6fcZmeAmlMJAN3TCuveQXGDMS9cDPUtsfFDBu/hYjpjImXLOZt0ztoU/s/pnJD
1PIlJpi1oAkN8BHtXVrtsDLeJ4MQe7Wo34Es3PTFAvG5XBHNH7UguHpyNMz6ZfRcCYtKCA2UTZPA
rdWQurOMwUwiQS/sA6Ilk2hIa/QSiblHzrhCzM+kBwE5jDOZ7VLfC2N+0lV5qROOwIgtnApCJZhK
/jGtYPCzDuJwvos0eYjl9LFMNyhnnjMUqS65IPUu19hORIlfcWIgG1lYr0u8St28tuDNVwUy36pt
86CHvOntWdH2ksAj1zGVR1GK/QDgdj1JlS4cVKxQMwLqw0qXI/0j5cSmGGfQge9DZPzWpTLvA30A
loyFFKIhy9MsA29HRWg67P2lgneAwoTYxAj/CjV+F0cwklLjx5Bd4cqJdr8JNYnzJi1EE7ygrj7E
tqpDlbP8lJRTV3HYSyxT/6Th8ocM5eo8pEytdQb3M1FFqa79AtiX+0hlMFAamq+mpbn+wi6mR+zr
OoN9Oz0IEy6tNk1HSxts6oCk8kDNtdBTurdEq8FRd2clZm8rG+G2WfWcZAV2JHkDGNNfSurnsXNI
9aVJ4cosOowkjkPtXK4SCXslvmfN+aryJfERslXspv2DVYzvVjt+QRI9LvPsSV37KKfYhJY8gujF
fBFMjQmfZCw85iBqJR6H1HroWxtbRpLfDnbPAKVWGWQ774nZkWifG09B96sXKqhuGKIkiJG4o1qB
P0XFbWaKi9Akh27YkefEHKNRrbuKVcdQFqMfxeo9gSPP+kAqptMX+zCaf0WBOaAFtB4YqBDgkgQw
m5c32/llSwWRiL6y+PJu8rouocCmwARfF/qJXvozFFtizt2h6Zk3RAelKm6L7BlsnsOwMziyT3pN
FRm7KdFYiQ0aL9XjYqfo0vDsmzYE2EnTD+0C2eBOj+aksHZjrb4pWcaopdcPwQRzbwoIw8vAoNVW
74VD9xXVSO9N40R90RYZBcZouSZVJauv8U5NT1TSJtThjJSq2PG0cpC8DXkImaN4AdrcojY0z7aT
79mK3iLmlPPc554ywAZMHH0+WfNrKeJsF+iHTDCQLvCh4kENd5IcmFL0b2kRrh1qVv5Bwn/NkY3H
BYFZSaPRaSWvTjkkmEhnmT5PE1dvk1TvfTVScgyyY0zYMh6OCIl2LAeG8ncVkJGRRtW1C6O9QZDI
3pmnc5XqvzMFw26UQH5feUN194Ui6ZmBeLlX0Ki4NUf8zlEs1oYOh9I4ttdi3jtQgOeZdjt6rtoP
0hA6W4ktsMaJkDHVSlq8f1lALySOv8sgu6iWAtQ8qUgWCkxGT3F7jABsuIiWLLcp9e/RADuVPWvS
Kg5hqX1YmnK0lon+iYOax6i+yxLUKbzub3gzn1TU477Wo+sCchiyb5p6pMFCIVjumogI1/uJqymH
IobD4hNJDNLv4Yd8y2vgELEcc47SCDrPB+vF0abz3AAjgTNHlrzR3A2N+Cz4Z4FEeYhTRz8oa+Ry
VM2XzFShvsdFv49j1mkqtX9VjS8co8hAENWvp0O5a8L5wO8xBe9DwLfRiVih51TTFZ8ErMMLRtLA
HesA9dC3M73WtvFKb/vJynuqTYSp5oLijOhqrBPnLHVYpnKKCgwKXo5NRLb0eusGec27KvWPWkNL
laOZoGH7q2TjucVoPChZSstQGG8Dc0stHAef9J+Vp+KEl8gUT+Eij1pGgS5CQvk4O1EBQNpjDWvr
sFvr3kBoDEmYhtW9E4UP1R9OvAGTnxFn5RQND5lgpSYb/DTJSCyKUN+ihqCGWS/JgxqfAJBmezRc
94k1XBgrYPRTsqvIws5nEXgZV3LrbDxqn2Fhf1p9+9Kq7Jip+UL2xaMuC1+E5BQSAQwFnCDZ+aZt
OFqwdaEQP7aG+tZ35m/FGugro3RrDbLrEpVmTML131piA8fEcKr7a1rDAecEgAxuhTdr78G6eLWV
8LJAKgSpfUl1udC4a7+qetrXlvKSEUnsWpExemNJ4a2aqBkC9haqmL4oHaziQnVNkd2UQfe7EFgo
on4BSon8qekfrUycjVy2nq701FQF8nsVQPWUKIov1nze3tF2WMGJok/KryiPjoArbpo42qup+R3Z
DX2qhikgSapEKcYHfa6uqSRQtKmzUzUQmdqr1Q5V+GeqtchFdRK6zXiXpAyekw79W1AADjZ3fIRz
H91ZcYFIeLwUigbfSWqRi+kxGI1fQYeFIgh+lkJ50okSmmQZPSnpB8zEwlx0TwlV1Fijfp1hj/lG
p31ZfXfSnfixHJms4wD87oJ1Y0fZx6wNr2mBr5q0BehXJd85Hq9zOt6WCfK8IPykhPgkWDVyrXLY
m9X80VerL0/lQq7kDorApYQ9rqO2ozZfO5XTgSle5BszrVk11gmA1+kmRB+OSSJF2haXPCNOqTR/
5fYomKAr70s4XtQahLRT3OqcwoVlH7qytL18BHJXdLt4jN/irBHeT21WX6aR/Q6qCq2lXj7k0Bo7
K+fkIhvSlswOPN55KcZdQH48Kie82lp1xmf0qCsD4nScv7gsjvMIljAiGzRJVJp6fTGwN6I5X4Th
q8xUYXCFeEGK0VO9bpkSkhLjdL+E1hkH5acU9Ue2LHcDnC/GavKWI+RVptDalN53ihINph0e9Cbx
rLFHcKyQFpUsV8xLN1Brl0NtGjsTvAHXH408ysyzdY6uYVGHI5kOUPSRgU92D2SdL1UZzq/Jonlj
0U9xDSo69uLi1sheepH6BKjeN1H3Fg2MwNddcJmJmEJYou5DyY6Cf+K6ZMGBjvhbYHVXOrd3AaB8
Vgn40LJa25FCdM5E/thF+ns+ScFCL6KsxU9lO1CeRMeFsYgfN6lAqNKUoXlcHVmNPRKq/VZ1yRer
3ydcoN0JbD6Zykvg43t5M6tLUwXvlAfoMSJKlIBG/UVhkNNohK30s5nu7Fw/ojKirZfMBiVDHZIP
qVxKq1KurDVfp5ze7tJbe/KyC7805ciafnL2+QKKZhFZeiya26JUGBDwB3Z2qnyx7nVnvBAiDuzj
tCj4JnOQlYRkhZMd3gzxyKIRcgKzfcWrEpPY4tk8zG2u3SgZE6waJwKTCIuFmh2p2DO0wzw79Ql7
XOw2MxlMk2bkv5S5BRpvpe1h+/HvY2DoE47LNgt8CwsHIP5K51rVETZu5SVZBmv60/RmixgYNwEW
0ppmr3bmU2lhScfk9CHpI2sC/all9MqR77NfNArVXgR0+oDYs7R5WbKmPQxU6M3INWxoaEDG3SP5
wp99l63OLq4+izKehDY4Byv4scjs9OZM+0RHxrWmRe6WqCIk5zh7V3qAqqVBaS9H7U9Q2Bw0VNh5
EPw2EtF7tIhsH2yAcAwgzmrBd5Kcluz6Jh7Xki1SzpGFhi+wviJH/xpa5NszJ+GgD06QmAGk07Hq
HP3VSYF+m/tqVm7r9e3idQJjSORTI+R7x36Bnwf2sCBZYim8YU4uiyp/5dVdlYjBTbLxsQiZPme2
fWoqQUvTukt13OSW/d1MJhD/sL6fzewhWUcHjpLTNpyas1DD0WsbgyPCIQUeV9kN+RiFX4f1xAy/
8ymuRw5r41QMgkAdk9Xb0QgjAWwCZYcqIRJoVgUTNTUsCI1hs0vM6q5JhrcpX4MWp2Q4BEb+M8ZL
e9tB2ghpb6smK2UjdLjAzgbzAcPYOZH6Fs/WrRP+6K3BTLYhD81mwVnFdsHpMXnMx5fAiKEL2azR
otAIXSzW7tTBcpjKybOdhLWzZY4uM9VDEqvaa+pwtoYdy+qWFsuUkw+lxWfR032Rg7iyxn6Sav7a
5na2UxoRI7QI32CMYGG39QNuJtVD6MFpcBUdWsQO0TmkSdV7a9tzN+iY1XX+x/o6bV0UgiHNND0Q
ZMpv6WeDWdheteXngpM/H2lVBgPDFRAqWNyZuI/dxBpOIXfJLjLbS6XUcDQNT1oGEFA1QL4MZYWs
ioaVWX2nSQ37pRiP2UyfWctM56SLU5d3vTuHDKbaheaTZaWfPU0+rjal4haIHtqsjE5hMqwFtP5u
YnFx6VaG4E6m5l7NcwYruvm7XEdPwUdNh8XTUoXatbu09CyRyTY3IdbAnmLkIZDslUVJs7NX8Z0M
1wF/nYdGpdo5hQklfWbsIdfEmr6m4xcv/ci8jB0GMkJ6aCIoFZR37tSk/UNNZrrfEm+0AvnP9OVv
Q7P2sp6+zQRRQxtpa1JLVadkqCF+cEWIahF4dR+rt92o7nNqSne2cE7HC4nlQr1zKmEchNrXewiR
p6VOLFemxS7SCWxZQi4OYSja80i/PbURuCfp9CILRKZq98zUjP9/sSD9oSMbxG1yk5W01Vm3wqlN
JNErwx4WAxSJuogvncX8tG5o2lfGpGCKhQeZOflu6QwuxmP7BqJnV5hr/VlijVuGk5lyJs3i8qWQ
i3G09BI1syjnG9GuM6EGOQ3xG2j4rLShrs3IE8e7sRMRu4UyCgzYLY1ADjSWWdJ8ybMm9yytCDyQ
KwVaTlyvVeIR2VYAgFoPybts4i3SmUPYyBrTE0KseQr1xRTJayfZtoHWyWMSpwiYOOyx+bw0km9c
m7wlfiI6MaHktMZIRtrDq+mYCIvT/ALqczqH5YNKC4U9qnAD/iu7KG3BfbcNyz3eW6vmPUEjA1Nn
qiyLWc9O2lXpJeFwFCzciRfOiVjtRXFgWGzAiNk7w20ZEd6CV/ZTlaL7levBbkjmV2PEdTlYw3Mb
4PVEBtQcCoJoOEV3d1O88CLlR5ASRFsn/F0Zsvctu78JmaHSOHR0wCjhTNtcVt/wm9lEc3I/qL1C
+LSNA2awid0oMCbUFXpanQ6dTthIT8JmwZ5sBuDWOJBw/Ve3Yu443UyFfgJUUi6UFSb7nKi07yk0
P1X9Z5iWb9AzhFsACjfr+6WVKmScgD508Al8i98WutyrGQ4KRobQa1pMJvQ9lHG4jsyYJSk+STTs
2kh5dxph73qtIXAtTstbJn/WLlts0vEEMx3GXp6qUemwzsHcS8XKuvYA2Ed4MDFSn8v2KTGC+UYG
KrMNlj6iQJJjheW0V2DBo0N+7JRM3Tf2PYwLCkN1fhkm7bi0Kl3hqXnuBiYicuw8PSxabxodjUIx
W/j04W3Udu+ZZERm/OhDfG+z2mcRzFVxGCakRiwH+okBdOQo1OzHBt/4XUgeiVISZk24kz+2yndT
Du9GSK5XFtymPdpK0X+PNg39KqEFj7ryqaMpQN6bA/e3kDQ/jOchYHmYQG/YYdD5VFb3WmTN58ki
uiBPkgdFVNDzzZldbqlKt0SK4msDaz5rZeK3VfFHNcbf3aBSscjxqHHuOazQ7bHMfqPdIL0S+inz
XlbGutX84hsl7FVRQvvFzA4RCFzEhn6qJMdcJdC5CYz7unWSm7Jl3zZqP2Qju3PlIA9kCK7VjrmL
unG8VvbOQD3r25MgbaP/nOfyjitsQhVsuKLCPteUBTqQaj8nq2G3Y91BaBsC+aX6TjBZsVRIHnXV
CbyopvUalWbMPRonWVj2d4XEmat80WsfP5TwyPRVBe0krkPLmG2Zii/LWtksgqVR0yKsG/ivaOpy
CJ2lvYvXG5PuW46S9mZ7SGY1UUZ0HqpU8m3bNYImmI458kc0uTrnUoLVbcWB4t8Ms1/VnIeDSntK
+jhhP1BfW/ASvqbrlhcaR1tK0xeL8xrGkcDlRk+7bPNx1wQsZPIRH0TiNlNZn+qpfRqsajnoiRHv
hia7TkjGmB0znTOarD5w8BBsbPcpHOGJWS2TOEo4zrG49MFU0B3eGU3bX4fK/pUVbNBiydy80ppr
53QVGd57m4u+XcFk6RhvQB27a4KZJj9txi6afo+9BkXcYiyf9NqLIVEWVu1HVUNywdFFKZTvnMa6
y5mI+dUiWo+idRdgHRwYscLMWYM2xj9JM/uBHDriC2/Spp/2gL9RLgZXZwlvQ8lahWXZPtWryBuV
lH6MNt5o5A9Q5Ex/OOUCj7Lse81oHuo+pQ0jw5dsZv4puC6FEKQbZf6ZyA9OAkO7xqYx+F2Rh3sl
Ixmh1uwfy0SjmXcvUzcErgCD7Fmz6lntzPnZWL7FZB8bg5js5MeS7KBLnn3VE95a1eqo/RRCjIo5
PI9G9dykiCk6di69fcLHcXYaFD5hEO3+H2PntRy3kqXrV+nY14MeeDMx3RflPYte0g2CEil4l/B4
+vMhqS1qq/t0TAQDgTTIKqKqEplr/caPBCoerb5wPPPbzDhhIY46Se3pxtLXnZMO8jol/7LuAnvv
Afk5QFR81Gab8aBUyLYX3ADHfK1TyJbwiAqCr5vBdxG1idMHzyZPrTt4FKEFcrCL8aYzyB5Ypv85
vIJAYVZZ+v20bnWg+504j22SboFl7MfOv8EuBOoLsYhEG4DqOIwZjONzlltvYhrOptnesEpFtjg8
Jj49+HYqAILqTWK2fLvn1Rl5lBs7Dk2Ws3VG5MTYVVaz1wZ80LPhXhkn7dyCBdLBAW+KaJcJlriN
Z7zpidEucrt+VopmIs6V8DDgvukwMytAT8INjw25NGJuL7rZNCcNs9g4dMeN0jTeqp6KpWeGfFui
2xRlhmXAXF+ILbJKezCTPMoTVYffX35JbezE/MHAcVp5C6z2JTGTr40IJ779+rav+FzMCPNC/NY3
9lR/CQyCkHE80+ljMmgGHk964QZLE4kyIgxkbC1ucye6DcAnZthD3MSPfP53zldRCm8VEC8gTEvQ
v/bUhdKzrbKCt6Ee7mrdeSvT5tkd63uyEP5SjxV08h2MszwUpSqf7YCpzegd8qgKrsG2CSQbywN3
0WZTxZZfJevs+MYRobSvmt+7yyoHJzZns/IGej47tXSF7c6+G2zEHw6jMW4dfkF5UGwzJm7fVj4Z
bfQdcbOcyHM1bAsVWBv091C85U79jM8U0ei8uKnMjebz5GROR13Z22Vmh/px/lVPXLDpw7p1IyB1
qlniywDvtJztZ5QRgJ2vvTr6GwlNdx1O3nkAkrbKNaQRgF5HlQqm1wsPgzVpizgKz2Wh4FppZCcb
tlqSV9m2GS11DWzOYnXRL9vc3mr9EKA2VlZYsFR3OgOjsMbPPzEPgk1pAKMTd8cQ4rVXNczw27GM
38KimkWnmr2RK/zfuHKaNlEclrdswmYPtLF/0qbQOxLZWA413uOuFWnrwckfwlJcjRYjCGSqeRvR
qs/AurpEy+F7W2c7YStUkS5fRqOKcZWRnNDUuwX+jejfUJKxGkhiDJg7gZzaVo1SrvvypplU7Zhn
3abPlWBVJSzKynpX5BrrVmLCUR7x6Q352g2nc5QxAflhla/VsjkELsbtgYrtAogjzVPqtZcq0JW7
T+kg1qKrWQI0wVXRWPT3efEakNCrYswovUCJVsqov9hNdWOqzS7z0nHdaKx30yaxiQcZkIVSFFn8
/toExtfSPAYGsyY+gQ7psO8eGIfCtKC5d94bHikvBL/Myn0ig7IdsIGD03I02JSGAcuIIdBvIKzc
hL16E/UtaA9tXwZpttEID9iZfR10b4bysBwtK4wUR7CupdCf6yF6AGHJchQdKqvpIGrk9iWfjHvf
iO9M5pSN67TbRExbr9QOPk9yyKLLtiBBhjXlOo6JRuLYGUdioVeDsQJGSckNWOyU4GLqjKg5XO6o
CLdjp22cpmFVQrDRw7NgUSrpyRzEqx93r0lNriKeFlp1l1Zty48Gyp9ffNJD+zUarLe2K9Dr11eG
mpZbxO/Jl40IK1Ts2u3wKyFZEvZlLgieKTdGMT2ElvMUO8NO1Y19FbJUVRr9hPwOdA8TjE7LA9Gq
3XZx+q6ZyrpSSx4YSEN0nrmxKp6wav9V5MgGJl9Nw8SHLdkT1L21HSJxaVM8T763EuNkbsNGe/Tw
Ya0q73PYzoj4KDwpPUAKgHa4QGTDycrwPS10AtyZ+6ii4tb6xQ2CRx3Iq+6+6ojFNAFk2MKxzxDH
MLTzy7sMIsPCm8ZT3nqraLJwUaILGZOTgU4KaVZ3Y7nizrCyF1HjVaaoDlr7ANLU7sEzCS8bHrQC
y73vG40Fm7ViyiUDjUYCMFzzMcGgE7oJ8mKWIV5ytV0poFQrXEOHSL+xNQfPUHQDY2Lubenv5kce
eYHnKU+shRnmcNOh+viVdVsZ9cUSg7sk18i2G9O6hVIZ17S163UOpqd3QT4OzVFvyQYHpFOE8g0l
B6weia0ueoGCJLhU3eGj7cmXp6nGvtTZE4Jnboy0kufatG219ilTCYGhijQz0rcKxO7as1mUsFDs
YavMaUD0pCJkJ9RgJDjA6tevv1SutmmFeWodBz2UEmfIhDkbQQunIKDZNue+NJuzVkTtmQDERFqv
V3bAR/pFrZTDPqvN8i42leSObfV8LiuKGv4jOkU8Nm0fLUg/DLSlsNR6+6OZjsrQrbE1rG5kFXAA
8hCW+fljkLgPYuZxd1hbU13eEYep7oCL3Zcq4h2yysDe9VJ56u69w9wrxcB0w7sNVx8DEUiHpd/r
yl72A2w93A4V9vXzqPIAt2QXQqgkbc07k3W1XTdLEHYWMi5/1qWRu9QQ9bmRPdDuGkG7xAS0raS/
MYfux4G93a1r5v3ht3qTtQFSOj0JrT/7a5WNioV5Ik+qXz6qU6zVLgEIIzmorE+LEeup0LqyF9mU
euVfYzw9Hyof4FRR9s1BFm2vSGYPuGkdDXH74IkgPeoVscQ86FueHI17iwfCMoV+0yxzZzj3KpOv
vHQUXr0MAOvtZTFOvXgLscFcvQ8c+P0Jr0KCZvPLihTVuUR77ypfyvXKZ7Iu5lm+Uh9h2Tj5bkBA
gu59W2U7ttPKUhYjmKfn3tMfs0rhfajqjVFp9b0cR+NKQhmiOsmBrBxQX5V7/ka2NrG1HMH0wqpJ
i1t5sNJKbBLBTwuprDBctnaB1kWf1UvZDKK5uOUFo53Ag5lZfO6TRVMI6oqk1sc4ST0O7AfyLUEK
fdM0RnRDiD3cFP2QXknBz8iBsrxFos5ZFUHU3SVIaq5qVBXuR1HZSx/2zQNrL7EMejt9aoi+8buz
+udwQs/OSS3nUz5Y+SJV2uKLKco3TGWhS4r82e3i7NtQ5tAGY+M1nwCyp27xvRlYUWTkVMhwFMtO
LZk4JvXqD6xoFuJEtApIboYKjWnHwA+wJma509F7KrYhuZA3EhFHo5mq11Q4tw4I/69RH39281C8
qOwJWL3V3med3O0iidNxE5UB1iieVt1iJo+uZuowBc2Gy7IuSEoolZPC4qerqlvZoAWawyThl2tZ
lA0iIjgUB6nCcoeh3vuVwbC2gZitZLGZBygc3V13g4ui3s/XwOu5AD5NHs3qqyJcTsJRN4qhoUI8
95Hje+QEt0Nlde9vVTbktd9u85qcluwixx8UFZx/F5LvLyrwbDDSd1OXYBdJCvQGt6Bs11ZWjCVo
GZ75mSnrRhnie0QMoqXQrOZLlioX3Sr7gBzx7eT64fcqs14AeHvPva27WCA30GZ7JyWq4lVHJS+M
o6P37obNa8fvP9PJixvdp97vPlkFUi6htYY9wAc0JdNt7pT258HWi2UQ9NOdp0XFxrMz5HayujuA
7ne3uDb7N9ia1iujStQnEIUxgknhtVKTu3zS9YtRZggtGHZPaoJcYJuE1YUvDomioEguCVunrYHW
wjlJzHTbVqikpDkJrizpx3NiGc3WyEEV5CbJ/9bUsrPWjvoWZZvgrHm6veWH4pySBCJAwYTLr+yQ
AzrZllD7d4YVh7esRljSaY79LUgP6ErYrw378EXdBOOd7BpZk0JU5s+uQ1f/1tWA5nyn4vG97RqL
2bdN7kFPxSe8z7a9j7YpasuEM2QdAc9tV5V9uO6xC12VQiXr5/e3mV7jrBz701qPpv5WHrCXdZYG
chIbWdTmfloHEzcwSmtbMrVh3B0Ty0bVJ9jrUTW8XxfGBJVd3RcHkuCvE25+CFUR6Qfrf21KD9kb
eErsBt1dgYsKGMseMjC8hFsDVeEVoJ1hLev6wvVvWd2D0Udxk5wQ/WSd0xurfkSeSZb60M8uSJTt
ZEkOBD/N28W45wFnZgx5sEzLx7iZ39BHHXhOQSrX1vftz37kP1Y60nY3sqr03BxJN7ErBBbqQ5o2
K1XvQVcQQGk2Smzy2WEHGa5hI8LHVKaEWJZe3zg8FgACzJXEJpPle7muBAJ8xHHfe8oiwvmEmubD
xxCyobCC5sYmpY7mtIsMTF/faP6o7mTgPldS3gRfzP9PZWDZ6k7RCPHLC2VHeZAN8FBJB88XT1MJ
fDzx7H0wb0CrUBiXjvjPTZBVwFpQDfxC1LAmyWMVV71EqMKa4OMULQlHw8nfcr3wbqMA4o1XEU+X
9Znj3SP3od5783K3qqDFKGFL/7w4FiWqUNaI27Q/5tVa1rchO6K+LZ/J4jiIEw3Yq8akLjMLy1kt
7JVj7fBtWsjTZsS5NB86pMwt5SirRJzQKsvvp7L2o73zIK6lmfL9t3pZ/K3O0l1tn1XJuneJoeJ7
NR5DffxxUNX6Nmr5XycTvHgWOtYnLYZ8oJZJ+YWk3atllvaL4uRPjaY1e9M2zK2rxeHaywxUP9CA
fzILjfQZDI9cd5lPAw1dJpFGzzheYmrMhAkqQ1nXxnh0Udnyx9hYgQpn/suHy1hV2dtYIurZ1vqn
wKpVEKSFy469Vw79807XOmRFVVL3C7U3gp2f5WytG6hdrp69lJ72GX9y5Q7B7OKY68gMRs4EIGFo
N1VWps+dShJtVFJto0Dh+mL7SwbI1u1zJ4LyoFUi3agQxPZFG2RP7jjuCUbmL1pvFLCefP+YhV18
55vBd/lyk+7yCVZDceMUWXfxA7IMw3zB/D5AUJLTisEG5nZgbpGT/BojSXqWByMf2nNltsBrLReJ
A4VdegVA8mzokTksZB+4nPMpMG04cObxR/HnELJ7VpbPWZYWu4+hUwNYsKl0zbqtoAYMw7RHt8W7
yFKeQEBzOmTvZTEWoFiAp+57t744JASbfU0EBHSYGi2LShHPY0deNc7N6rMzkbeOhrR+KdLsGZhH
/w2L5nPLevSt7mwoWXmAg30xLQoXmsBCYSM/h6O9AH5LNoCQcQNzpttn8MQbeMqzuFzhVCjM6Vq5
iLCW3sriR0OSKhk+yOAsO8LdN9GT0mEjbiBIfXLtsPI2dQnEtx/seh8a7UGW5EF2seZ+sljN7CKz
D4iXNc5tNKjKPnfhdWWw1Nmld4go6JCvVtHcLPsIxVeXaUpMVFgWfXisfmNLrxzeL9G1dCn0wLp5
78zndNFwlrCE5dxCGGKQn6/xfn3vZ4JvFq9RAyk4DmXTb5YNOOy7IMnyO3/eckSqAKvzs86t22aV
EAIDuoMkHMwV/SpU1z1VeixOcFme2RNbDyq0KvTG7GtZO0jKxuDJHb6IJ9looWq/AgdS7tQSnGDT
GeU2d8C7po0RPEZ+4azLDnEEPR7gUUHvxDyng+o2ZPbDlIKy8YpAeduQX/Pf8o4lqSEa6yFjrDUA
2eQ0WEa4KuMUAhFIgXuimeuBsa6GZVj3k/AJnDo6O0xIduzNEXU3zCZeyFbHINM5No5/Ij2PwGgU
pZeytsXFAbFGCl1EXysnO4g8tp6EUTpwKgLkQKYsei4VAghzB+evV5JLrQmqu+FX8CLvV9rMWMty
rPUruSUi7k6VPvQpDCUEPKPb2PfRjdKaghRJ6mz70daPMc8I4DBZS0Y7Lk7Mb812zFTnYnJ/1k6S
GLdFiv1dpCrOwzBLFqHHu6gq093WrT+Ni2z2YGidUTuT6kwJXKK6NVflIPjP5Xx479cIs8DbQvlx
hWxpxhGH5N70sSCE3E6Oew0isb2zjTa8L200KyKE3tayKA90MB27vWNlP7OAEB766CDr6KCZhAOJ
gPR732tNnGm74GjnqTj3YZ+tkyxtnvQo/iY/as34Hll9+BrzXSWYPmJ0MV/jIlV0NOdrUoeYgojN
+mky5vRB77+Z+fs1uZdqC93NflxT2eBSkjQ/QqnyjlozekdSnuS3ep2ERBXnwSbh2SBww6Ypl02/
n7IINlZKG23SocpaTApMeHy46i5q/ntUnvFRHwNEGBaW6nLM54qPQ5NGGACDen2YINKu2wHH9Toa
jFOR68k6smLlGZL8Tc+38NWKuqtZ98YzvIWctHj9L139rL2RS1czHK6lF/3o+tuo5qTisV5UCWHE
F13kxqPqi/Ih6H4pRN2L1tn6e4vm/dLy+zWlV/bbWviAUKaqw1m8VgeesTD+SYiq5lqeJhqCANF8
KL0YhUn3RkW36yiSeb8mT3M0aBU8Vf9aK8sow4vDZBCy9kblkFvBEcqIuU1JFR/IyisHWQ/xneCp
rNSywUUXee5N0s/LF7JXa2uttZMdalkrT+Whci1yZU4bL0qUM370ly2jFnxpPREeR+b5a8BPY5cO
BOa0rMqvfq7lV3nGKvSpIZl6+Kgf/EDbuQaJe3npX/uCNv3Rt0G7d4HGQYvssBuc5cFC6JPvUWau
nSpDu6Rp4X7L048+9Ui64/c+stlWLcRaOoxlImCGwYOC+PsxzxuV+PR8qisgvuSZPNQBzy7gSeHi
o67T3bE6f5QTe0o2cYaOmbwYiiNKTb+NQ7iSJE1d20xXLjmyX8Zg4eQs83FQwdeUcLWQ6+u86IqQ
QX4N1DC/VunowBH3jZU36tmvDbumQ8Dvo7Y0DGdFptVYyQvlAWnl/FrvxNxTVtQ9+DCbJccWnkaG
08zzRLrxjBlCtZBFqEzFtjZQWpJF3YQyqsDVPMliZEcrHpD6Q+np+jXJzAdZ3UdotzYmHnLxmI/P
tUaqly2Es5etiqXe4KQ53WKUbd7X+fQ+tJea7bGP2xI9JS4i4zGu0RViPzq/LS1FTbCwFOPS46v0
rPs4k/zruzXnd8syLNyQSRqeP96tHDLh3WY1As0VLP2tVELPeFxsmiIAFz2Lpb+ro8966h/Fqg5h
onlAaGSrbJiGlJldllM1/5xqab6TpTGrjkyVUHxSbe3FrHWhBUbRFW23YVUTz14PtTMCZQqzpY9Q
waVgKYR1km+RfhDIZ8ne7xc6Rgh2unJnX4/oail1dAVvFrC16G8T/C9OCMgfW2Vwn1Wdlx+9AdaR
512rLnms5+rcg2cjEtLpTZu4z0NjxEsC8dFJtjZ2jCfGmDwFGujpxsRiZ+gV91lAGtvkIh428ipd
7wlHtnF88ZTUe5rik3xJV+nUE0qvZADnl/LjmESuyJWtLI7J+HnCdxYNq7p8qAN/LV/Sa8iNaRPO
122X6k8mrLEkcs9NapDxUFXIxRhZnXHKds59ZZF7iTXbBxdq3o9jaiI39LN5UMAwfFwyTdPIJIrE
vsWj1bBgnYTdfRC23T1GS4QOU8ChfkARyRsMZPrx5aOH1vqPfWykZ9kf15N6a3QQLWVRzAPOWdx5
LHlNLzJriaaIt/UMa9u0o7gZcvj2LACA2guFX6uKSGZr2MFreNuGXfGKh1MGTjCYvQZM2LZT40L0
7+NHy66/eoaSvya+DvzFrj4ZulWtG5QJT0Qj7XM5aRUeSJ7zJVaqlexaueT59F5176YUb7hRjXiS
WKK/m0qvW8jXsyEppp1dvfglUEWlGliMKYl1rCFVrovIdp8BDpxl1ybWP3euCgdRtzXeFBEd+T8U
fl8tHfZRf/4PCXuo9/+hyFhTyf9BwBp6jPLqK/DdbuNXiblJ1WTaAQ7IVjrCHo+y2IkkX+mhqj+a
Tf2jdfIC45eimujVjqRRtoHtTJ7EUOInFZ/0lTqq4gIYvt9XWlLvkE1GR1SJ0pWDbt6nceyegUCb
3936WKfK9NZUTBOIkMcQyrl68nxxqYlnFi2CC72Rv/RZFW7Ry8qQv0v78kRkDsuo+ey3YovIMzbD
ZrNkH0DvqupH2BHYQPtNZl9SzVj7gxKdSBu5y5S461rWV64OFgiic34yrGJdND2WEUHLFYYXYfzi
De77AP3ecExctbTZXs9x1JNpggWdS1UcgOIpxPje2IlQWwvRoUgwN8gustXr9OJIAgEV/ZgEFUpg
m1QE1tkkvnm254MshmlvHyfMJWVJ1sseWkb+iKSPgzJ1HkN9n6/tCzyOQivbhLjeLKUAO0zXxxKh
//soADBZa+AspBC6M9WPtucm96TTw/f6MnWWrabXX1DbgG3evaI2zjMM+MttUJr+LkA6aOuGaX6f
9CQ5GkXtXo1eXSIA3b6oqDatkHHULkin4oDWptFmqJT6SajaYyCSHkkdjLLG3Hu2YjxUYs1JTm1Z
9XiAGCOq/WNwZY8BGTsPbqGV9ydDb+xbaz6YOrhFq7gd48ieFcXaMxDMI/w/sJbCTMRen1hWfPRv
6zraqA1bNlknL+tCUPhj1GZbWZQNaiTekK23Dh/dHJBUTl1kN5A37du08usbt1OWHx1QlmFpFo/f
PoapDafaNhOkPnmRbGjbaFglaehDuWAgWac1+YDZdZTtZbErfHuTRyVoCBVvHC+wnl22dMfeAwQg
i/U4hmuUatSdLDpJ8diQ7rpCpvLvYahv6qa1nssxgMDm3WlDbJ5JXSDBH6jfgWGp21iUbGlknTxE
UV6f4FxBW6avOhXGxp9EuW+6/DNYYKjnnq+vNNWN7/oxt66m/rUltgBxBruKPTJmUF7nxkIUyZ1q
RupKJTu0lnXvDX752Rh17ShLSClaVy//KrvLmsjS1D2L1l/HidNCBRXRKGvhdB1E0qb+HMCheh+D
zQVw7Wr6DPnFXQqPzHRM6l+bJ6AIvdf7j5Lvv5fkXDWgcvHR1v2l9PM6Ocn97CmvI+fU3+s9uep5
AvzZ8/315rZZcOffXOcNAejHoN8H/ZicYTYmZyvx79ps7HbIsSTnj3p59l5XDSTMepANdP+ozgUz
/UKW66n7lgYA8/FnOPuZVZzlmTzU1Yimip62GIj92eBrajT8UjadaFeoQXaIe3wo34f5GKGrlXGt
xbN23zy+PMixWBR0iz/+9t///N9vw/8Eb8W1SMegyP8GW/FaoKdV/+MPW/vjb+V79f71H384oBs9
2zNd3VBVSKSWZtP+7eUuygN6a/+Vq03ox0PpfVNj3bK/DP4AX2HeenUrUTXqowWu+3GEgMa53KwR
F/OGG91OYIoDvfjsz0vmcF5GZ/OCGprZg0fo75DItXaudx0PGOC1sos8uFnlLnMB3rdaKFHvsVDB
JCDdBHFiXsRkGe+HbNIuJlPrgdww9xq1JPMCKr/cKlrQLj76yQZybhhoFhGSyWVEUNTKd1Xu9mcr
z4azPDN+ns09UE7JWcaBOw3Zmpx9Xds3UVvclhFQWt8cfyl5ubq3Qm/c/Oc7b3m/33nHNGzbdD3L
cB3dcN2/3vnIGsHxBZHzKrBxPdt6Vlz6Vk0vuFvM57C3a/Ibc021tkacyYBtDEiHzIcf1bHwkA2s
av+skNxcZaZqIXgz1Lde5AgkFKgbfNsCTqp2Iay+P8tlK75VqWhxnwmfKuD6NxHZ8CdVf0qTpn00
IE3dJWC5Za3bNvFZ86EYymKqkVQZDAXx/PkaC+7BOkhrAXm/tZ7AWqTLycnTo2zNi+SX8Yfyl/EV
Q933rYBo6Wu4nvp+g1hH3Z2JPv/nG+0Z/3KjbU3le+6YrgblyzT/eqNbN3dZsAb5GxGRHr0Y7p+8
w0HmcVMtpCwg9qGWJ+/xR3NfIIta5/nhvV9YtzCF0RE9hOYkToR14MMmfOEye2wxzZwrO3fGD8tT
3zfnU0f/0au07LeuYt1VBaW3R7PKWHduM700zWKsiYdPGMRs1Exv921mug+Wr11le8Yuh4i5XsLk
9O2LQN54WXfu9OLXycNAjPmBOeC3AVPgB3eqZwA0XA4puqWTNVw7xwlPbV+eZQmRwPH6o7674vOM
Al9X5v6iM1B+BOZirHzzowuXNmb+fqmumGI1sT7ZFTEojxDpECTso+FO9auHcdA0DN46YkluM/8v
gfLJcdZja6mfVdT/d4CF7PeiPUaXHA7rveFiEhQVVoZhKlf/u1Hny4WBFoL8avz3X6a/Wk6H34py
FFEQNr8V//lQZPz973zNzz5/veKf5+ibKGpAAv+x1/atuLxkb/Xvnf4yMq/+492tXpqXvxTWeRM1
4237Jsa7t7pNmz+n8bnn/7Xxb29ylIexfPvHHy/oZxFmxZw1+tb88aNpnvYJH9v8Cn4+KOZX+NE8
/wv/+OMpEggwRi//5qK3l7r5xx+KY/1dN23G0S1oYKTD9D/+1r/JJtf4u81zZf7FWZZreQYzW44C
WsgLe38HQ2hqPGyY+3RNZVKsIevMTfbfGc1wVcd2XF3XbfuPP2/Aj+fY+yf3759runyVX55svCte
H/8mxuRtqKr728/e7ewCdHWg7UBt3NrgJ9BYyeO1c7KaqGYuRaYJfYqtU1WouTvHZhZA6bBvy6B3
zyHq5jDGfYsr8GjsdeeCxCyw/QFmBM+gQ1GKZNcl+tpTnQ7PQ0SqRLQeEb2YNB52VguL1yPXY/Dz
a/G2S+0OY/nhzonQb2vdQ6XW9zxksU3sFjUQdRD651SzWzxfLsn3aRLPpT9Aty1VdHk1NHOD4Utf
X6MnYdUIu/W4DHbKwtHLL3EdfB0iHpPsIJdBad9FOrmfmjw+cjvrTtmP36NarIiB+2BqZ21ah+X0
znG9JfqDzqFXcQuARYLqT27fFLmjH2oQFjuAmKvE8pEnJJrL0o49NnYDIEkdwMBBOY0Ey6YV2n/f
nQyxmYyLK4HCBne6X40QleIhZTpJ4juh4gDxaljew7xDjiPvEa4r+gizjXlaY2jOx3cX+Z3Y4EYF
LXQ+ZGQNlRgmvzUQTM/KYE2+kedVowD9CyfEC0HdqFCxwlkE0zdRsjrYphOuhMjNT7HSBxucDFn/
+3iYRrx/3TCQZuBrD/y5+gRAsTXnwLtTfx88B2/jyD6mFf921rYKmsY9gSgzuuotIE3LJ2PdWQoL
I3zENrkX7IwxiG4ytXkte7TrwyGeED7xvafRHDV2yaBhR9yUQUATVMg0uOJ+vE6mANE41kc7N741
ZnMZBOw3lRuaN90ofDTx0nqJikCzSbyrVEZuFTRyJmMyV2X+WI7cKS8YavA7Gm/FDI4d+EMN9i/Q
i4F8tRgUruvSbeGtzBBQMF/+L63fohXKTu+Q1fqTFeUhOjxVfYgG4e0HexdBe1q6qRqsMgjnqIe/
WZi09aG27YPidXKVr0i4FZteT3AC9Ud3Icx1nJYFqcQlmxFjS5rwJLReHHQtJ1sTugdXxxdjqq1V
xr+16PLkrtA0Y5MEiKQoaAcBqnWXam8W+2GEaSDMekEOWVsWdnZfTvHs7jN+xdGrX8fk8Q5ei+2Y
3SVbZ/6pWYPZr9icw4z7KXErMuQoJwUCi55jZ6MEo44ZkVZg25w0h2Y+mGhkEByydtCe8sOAdJ7w
Ppsq/hWCZSwJZDNrviWuuyVnVyFahRR4bbrOrIdfo3+jAoix0u9ZFLfvX9moRnGpKCJudPGaOtmz
mF0VQGsFuLCtgVRhcVM4rHB8a2ErTn2QB19J99E49VscNvCFD53qgMLyZITLIfOLlaPY1jLG7A+u
hTvsELFfwe1B5TirznEmZqvOXYyK/5L4fb2OO3sCcYVUqw9GCSccVIyKKKiPBfgE0dpIeMX2xbVj
e9Mk1qWqLGVre4SuyvjqVALOlxXWyx5FjAbY1IEEfn9ATX+Nr+G0b0A+NcFsoWmT08Eua1niNbDo
SgL1Y5+p67QHj15jAe60iljaNYGWzhTtIe5cYyM6FT0ttNAh6ICab8Pd+/uMLAIeIWuwop2WuYoq
nlHAfq4GZR324YvLGmtT00ljLXIQWTLu+qhaTq8qIZ6DPh/8CQHX/i7pm2bZt6qx0IBeVhMuJY57
KQOHW2vny6SIs/2AHXk9OCNSJ2ghV4qWrpDyQNmtLQ9eL4Kto0DSUebwFeS1dtSuATF28MeRDe2+
/gp7NtogzY75XqvjHQEAz4ImsVIcPiWELJ0DdADoIno83kEqP9ntBNYOsuW22ReBLdinu8aFvCAo
Y2c6avHa5su7cQfhHKYyeBDhkG9TD8ax3/cY2SbuKu5H5APAZtlhzYdhJa/6iN2cjU0oKL6xODZ1
ip+SrRJKSmbWTXkYhHmuA3DxY5D3KP8n9zmSjej7J8SzhbgMGnKIAnFC8ojiacSO7gan78+yhPpL
vHGMiCBw89znunbWtdq8TFYkllWqYPSIufcOykKwzP2Au+7biLt5qrLSE808aZX+1nThAZSUuMUx
tjfNaCkXrXpYXEKRlIssM5Bp7UVNsMAznrm1Cxe9ABwiy+GE5NNy0JOGoGlkkHTV2dXB9YIeZbBb
thF7gKzTQ8sJPG/ljjpyEqijwfVp+NaR31phuNXDuUTAqEZ1ZYnLs4Ncrl1vvBpUBaSh4BqEX3GT
sI5FNUvSiFJbh0N7FdPkMuVXEV87cP8AytNzMcCQRbt/aQ5Jv0s0d29Z+Gbr6ILNClQnYXruFp3V
YpUPyXPdmITqfRhCCizpU9HEhImnOlm5SDPgGKCYa9CC0EADpBb1On6yR9BwsYEkcG/5LZLgabXK
IDCjqhY+26gpnoKWQE4Z+c06KXt7N4xsopsCVtn/4+vMluPWtS37RYwg2IDkayazz1Sqt6wXhuSG
fU+AzdffQZ+Xc6sq6sURe8uy5SQILKw155iTDoYXdw6dVamFxPKeYBs7Yb6XAHIsTUb3IraRgE9f
Fr8rm1NkCHimhPhextRRJ1EGr+kozCNSS8E+oerL4ot1Fknerqji4mbyZ4X/vsBHWO28Rh3YlMaV
F/OYpCgDFhr1lc3cqO7jZ2Ws4WPZMD/IoKpuDR5SjI3Zc6HMdM8A8zWGhmAY9ns05NFn72LtSXXe
3DqBpDRDlWgTHeA5+uxPiwpBCQ5n30uHr24+FCYapmTpy50NAuNAThDXnbJQh2nGrG922WXQDnxE
3cjpebT7k+cZjzRRgidn9MG+6ba79JfAjjGNrEaHybMx3sw81YXk0pMlgiOYkdfaVyW+o1yxrIov
QwXPtiHLew5kS7ka7qHv4YRoruB6bAzCkXVWyLu9QdMu6LBs1LFzX4Cu7eHpqMmOT76jY+w5/KZF
Upc10fiTdJL4keYinWTiiwmtWUMSwgpc+guP6Lwk8kp1OoABaTCRC+NDpyWO3KAq30hYuhVZdohz
ZCzRmCdbTqEF4gNtYaKgEmuEphQl6L5KUV+s3nlxTTBtadkZZNvNyc2QbK3+51zF8SNFhLnN8fMd
VwZ8lmEcbvK4xg3jqTe9kpFUl9Vn0afqTfm5y54JM2dZVt0fb9vs1+1bKT4W7NbHeOTx1MQ/JZ2H
jcHFoOavuErLc0Bdw3yAZ7S8DGkqrnBT88Ng1taP1Dr4tpIkDoDlEOghr82QXozA4vBVQ3llynWL
KoRDTW81Ww33aY8/kHMfIiMszqQ5NE5qX0eduMdoCq7mRICuvfYBW9bXNgjceZfI+Iv5u39PCU5H
eE7cJCFYjCPsERd9ndYn+DT+06S7e5DBwCWa5HVJrGnXera65R5CRObGnVFcmmzO9laTeW8wPz7Z
+jZ2kw5v6TTs19DWVe5nPFKFYRuZYua5SVpcmY3/yrKahrSB32rJlPuBCyWPPyEFaExSRADCekEp
3zlDKDgh77Oyn4MZhykbPsifukeDSzrp3k2b4UDdTHBlD5llXmLnHK8cWcMZuqNArB4uORQFC+nL
S42ZJMzRaz9BUvsx9Pj+zdhr3kwLd1KpneS3q4HL4/h96xZPMnveGpPXvVVwsnDCT+zq7dL87LOm
2lTCiC8wg61t5UkLEkf97ZWdPsfor0kHq9x91bdvwFt8AnG/s7G7uzVqMFgDD5AIZRjNDabjFIKQ
IieP0wMa2jRw0cmkek/K3DxFJAaErtvUx3wxD5Ldjm0KYlRk9rjg1J++lOZ2HpHztAnHOQ4ocMOS
1cHnahgJ49OSIjlCb4eh4erE+FkoPfReG9I+uSWBn7CVQytLwFEEC5PGkrjHQHn+R1JGl7SQ7hOT
Lfg3fgfztvc3WVAWh9xrp4c6IAtN2sgUWumDd4WvBb7UutuJ7ndpMAJiIpSbWGjxAX1ig7f8OZ5o
SS66qo5M7iCgogk9CcHnnqHgayBgkBNTgfeo+pj2Cyhxs4GRUZBZcXCL4e9k18lLnmN5h4Lyo+r0
GJY2xSGkc0Bh9KyXxb75BBXsy9ZhGbvBBtRZ9KgJTFKJ6/LmGH+rxs5O0jippgZhooJdVebdEaf7
wtx0QDA2kH9E89sh8Kg5NlFv3CxjvmYcnz2bPQ4+UMKZD6oJ/lHB5IYc2p5PNDWlcaP6umNz5GZk
5c6mA5PMIdGe8Vukp8p1v5NxYdKRQZwzAxIfVEzKTKqh4xqqrG9TIZHI4lUJmvxI+evvJt0AsJXx
tWkbPxwsAs4bC4xuFwfHfuFP9lr7r4sI5tBaZhcGTpXd2W6oNxrRPzM5R8gCAmNbovbcsUviNomy
6FzZXhN6canBhjGblFH8MJW+eoh+0oKAdIPm91jSxNj8iw6rSiAgw4zAsTeG4zRV3ibWKXJAifPa
IeHiahW3xUXFyckEc0wBh4kS72O2k0PZecVbFZl3wwF2UiYlbOtW8XyAfi4ZPAeeWgafIRzcSYf1
iKyZUUO+8TrTOldtfTFizas+cuSPZX5lZJJcVL7wIUfexsgY5xk4BOo1NbDCzGw3w59FOe2FbDJ+
+kp+deggV5V5G3q0rM/GMuFA88fgJPBREqxSbbpeKnSVIPQTDMlgLGKqPshFosazYGTxiKuPVMUS
WWGWZ/Zxjlw79Bs9HRGHwf2by8cU6MeugbW4F9Ifzg1QDbRn9QWtNlQf4jIiV+A1bPPx6kVYtECr
jd4SPAVFpm66zl+N8tldpXiSzErku+LRNOLlzBzj2ehqcMpB3MsNwK4bIPdrmVHoJQ6hCYkM7okL
DbaC5Vu26WEeHOdieL/NepgvFlLKjZcRwl0W7dmsX0bV2+dc86XIindKFvGphN988q2Ra7eFniM2
5H7u7ejVwXWZeEG9m5bmE0MIK0g8EimZ/NQEVHR5u58S66HXEVSduqse4IRkW9vsyn3ggpuBcmzA
rBS4eaZyOg4QerZFrJ4mQki33CjNI1EpGNGB/iXS67ZNB2O2gkmja3+44NAKRS0oEP3+dQ5mWCoD
Rn9ZBH1IS97aWRAGd1VeNvvBBqGOBT4b3OyTo9ralSQDnKUayf6IAaD1uMe4BZ6EI98gGmGTnWvc
tlZVQmA1rLN8Q8E2TTWVS1uADAjsepP3ntwGefIuYURc44L3yeLz3nMEbJpv2OSY9xYar4vWv8Wk
CVJSTPJy92ijFdnNqfOnNYM/boHPEXbYLxCh3YmkgD0UF3njMozBWqISBkhpvdvOKRFB8GYF1Vc+
gk5bgoXiVTTgZtDPLrK9DTACuWnjbVaCBFfszA10wB6fivXhIN44kW5NKZg8VcsRCj0VomUWH8nw
0FqolyJG3YCL0IHPrVM+l7YPPyGeT4aXXbVW7yRyFEg5A46DpAbbYQwXwxhhJHYMGJCH+E81IHDE
2CdE88MvfgmXJt/myLlfEhT2XqH3xogLAeUrK16PoGVJXZ8ol+5p2pMBped0T+onSLz+gA+ovc4j
bcNIdj8l0vANFo94t+KfY2jTz5WRvkya0hO8aHRQHzNcdq7vaj92ogn5f9mORlu/NdAvm8YecsEI
Nc6lPzg07G4DwFpS3vF56IEMXgF0vlxmgL6jH/KYSsBqNPy0+CKFs949Wt70Q4+Qsbyp5ihUeFXU
Ym555EghRt95ZOt3H4sSyakoOCilap6ivvYBdsNLtAyfiszFlNY16U8r0ScuVMVnOceIZyG3qrRN
bmVgp1TqPazVqY23S5vYfLZ0YvpJ4T9BX4q5zojwoEW/ySBiDtTJcut0M51Uo8xOOhueKshDj71B
XhmZfWU42bQ9zKBXxyXjHy1TbG2TO/eUNcQbdiy5tu42DHfQmTR/yphbv4jbUDi9hvoeJAzd1XhA
9zBw+tvg1oLUveFqa3beTPTggCmwWDCHtzF2LahnMwe6ctmV/QpG4jpmg8Z6TYkMuGTkbPW2Kl9d
kldsU6Z7pZyXdPTrTTtYly5VaF7d17oFToiLI+fzb5NnBEHJcyKrz5a4hie3ZIFy65Nxsy/GadiS
r8PZ2It7YIQe8vssJzSnBS8f45/Sc3yz+giNPTbjgRkW9EwgQEbOSyoDiKUdPoPaYIXVTfpt6FUx
1/4Qynlo1fw1pdZnF6tDF7mg27rq3o3kGjQLO1YwYDjU9tuaCgeTS91dq/k5Rc4R2/qhgKGxcA5S
5xAgVOFPcJFk08r4hoHH2fnWucFj4yev0hrtzSZau8+x7P866BI3dZ3sfJJpN1hvzU01W3dsd8Cx
3YMa1YW2dYfji+AMxsoh7/Eb03Jwze1bUjhxWKfGG/BK4sFbldC6JRN4SRJeOYU6Acybdm8QS4kJ
wGNMD4DQQmSaqISz8sdoUVjHTf3DpTdiUG+4Y3nAsHwlW8BHN8F34Ub/aaWPSUKl0BQfrMlPpwRM
oys73jey/zkkDkRVEb0HUfYrn3LngInyQkr1CP/YYww5bSyHjIceavFizc7GysSzO9M4pUcBRmca
kY4QDLUuXiehvWI8ewLvvjva3oXm23s8Q11EtdTQIXBU2JXWgRhrvCkIupy6P1kFuZ00tLlkYv4O
HT7IUBjgNXqj3db0LOuOx2dW2U9Ff5DsBBlRYtpbhL2gMsrlb2GQ0h7jupw4J8W085ur9HcCmjPo
hkYdvX4VAOXtN+O8bzKZaBvTPsgbtlpU88euNNyLELtexDL0hj7YQhXiatn+kWn0uUgyL7oJvVBd
PKjM93bxBCNi3EEJO3tBexTEh1lQbLfOgkYotkDmzZW5LYX3WEPfY6kBUdPDePRHF0tF3X9GRDJ5
AnwVqjMsXEGPjHniCpgfneDcjjrfYUWgV0bbKMhqC5zkpWuaX7FHIbcQl9GRbwP88hKMy7eJlB2M
5BDszUxd3DH9jp2xP0Eo2dK/e8zMWZzQdQKeg7PkKPYo37Ovki+BiASiTfzXFhfnHyAC430BQFKK
+NdoOfqDSiVji6luborBIRrfPWrurWPECQ1vKrva5qPtGnx8Y6PazzwyceIbXn4fZloOrbH4e59/
2yaAgDa4dLxRFrKyNfAhaF+naSFq0s3AHYwxaeqmYz3ABs2xZXbYcdU7ITAAZk5eq8pPE4leiEPN
yCx1Vgsrrli7C65tb0YjS0NzKGc2KmjlS9VB4AYyv3G1ekuCaYLL0j8GDHk3qVVcB9vwz1ZBRFWt
qczwAePqc+z21aWknYTByVFxm8Uj8+hognDyHmoj0HyG8E77gytZ9zOTDffWSRvHCO9tiFYW1FlE
HBsWAhIZ9KSORg6hCkHszSd1L6iaJ6o7sVWPxsqrsIyxPQiPLkxvrpiSwIeJlbSkCnPxnHT1gOX/
WSKg3aNT3ELetMKqd54kJuGama25dNy2A3Lo4oIYvGT0geIZdNjb2sA+8CB6Nl4LkplS9X0Zi+fF
HJpdNoICzx7KriQEzbKdMJGghciOusctvKVeL5+RZX4ri7yDDgrUlnvMN9uNGKL6YJgFvIf+Ox5F
sdfJLdVqPdT1vPeQ3m/7nryxguggYrntDodx4h161h8+1+JamUV1qqgPfOxeOKl+JPhkwwJxslZL
drJHgoMHQPrAk/XG6qK/Ubr8nXPHeXJNxjlBNj3liptkmnMorF0rR0LY8UCx8vaQJoRR+NVrP1Hq
lFih44/Ejem6E2mP3VbMfrvrLeAvyA0vZWo8Vnl/GmAcngtTDKGzSrOi1n4IrOabFYFQZ6MBbREG
vJQriDm/VQEVBYOlGFzH8DZqiOezWoarXTSnEQLTSMgYEK6W9Nu6Q+UxPBOhCjO8ZShXDoQouTYV
uiy+qiInD1iZ73ONfXlaWhGqFAaA7mZ59ZohXAbvjSQ4ZJtRDQaAALtjl0IDNbMDZx1ZHEbwHdTl
+FGYn3WiNazEpD/OLdT1djaA8C0am+3UR8f2pOTINWfcW7n3w27LV4+e8y4KUKmPRG5MCyPOKD0s
pfU51pG7bZbkTWjiATNh5MfO83pA7lb8KTp/R+RVeffK+MhYEsFv74dzlxyr9ENTVt4ygrFmgx7s
IgtEsTTNItoIS2meGkGFFzRYlCL8Nq3NlJD8HP4G69lgj+R+CPstijiPGpQkkTzPSSuY6U7dvpno
JTj8TY2a5Rb67p/KddS+lr/HBo9H2TiAN3KIRmKi9G/Lu2r5xAiQsmOL+R0JMiWzpKOC9bJ1J4V7
ZZn4MRqD6Y16HiwTNneGMlZ7zHC98Xcpk+5slOb8JDHx6Z59C6Xb3ukA8rtyJZYZI7pg4W39+WIm
lnrCV0qrCihbxu/r8hOY8OXoVP6JljpxX6N1iJm9bce4nE9u3+ybTJdnMaofQZf5G8d673twDcPk
veqlfrMG9SIzb5cCQ4pzeYxL8qdjbeaPjSaRJaMsPLtm8BI32rz4Dn25ROoHdwVL2tK4M/uSza3s
hvqqBw5Z00tPXgK8e7a4SqNHqD4qg40JwoGT9/7jVLaPlNptOCb2Cei7eDByMz+kDWdVmb5j2reu
JV2Tzo3MR95hCuCWc4uDZgukhOqiJshSTuuFfgbm2RHyAcs1HLHWhm7z4KMQHBdu3RysM/AWwIBP
2japC532QxHHAYobZOonbND0UJnlvDVV8ULWC59baqJFmJqdobUPg5yTvKZFISRj7GWXj2gF2jng
9rOUODAhXUdoxZ46ke4BbMVhoMmUcUp98A0eT3+UUfCaO5O6rflsZafM/RhF9B2K5gz+ec0g40zI
IHH1HmN/OBtFw3ikTZy3OEi3HGrsGbl9yTxKL3O+LsSBYj6rmaZ6E7YYoAxkjXuHxF0vHUEOVG5f
sq0/DcO6t5McdyDY5bYEVheKeQU1MAVgfEANz8JMhu+sESL0kmpfT6O5QnUwjot+fBiDb92QHJEt
8yvgXYpieyQLjEulk1t/ipkyNl8YTyaGfHezvyqz/4yIrBpPYusqiGLz4wrKY0NTz09Bvi5IKVsQ
Ck9e7J2IiCGBgQ5t0L7TXyvPgz28e43Q8MjcO6SfmFlLad+DEjTcGP3OvZXKX7nGqTU8eGAjpGCi
33at+ywE+2gPOM1f/Ocp6oiWgmJ+JYzgZMnR4Was6X129a9FZVwdljw+as8X24psr2a0eRqUu+Dh
kl2qpi8tZCh0Q5KM9zV5in578UWqD+kxbQDJegFdW5tTSFIIfod0AdepCNqzbRJdaiN70CXRiVa/
MG24+2b0xCe4x3b9CDqgPeh8OGrgCd24QKWLRQWW1M/DYh4IlF4nVy7UHB00SDhzi3HYeBKL/QBx
0zvAhf1j5D/ahsPZA7bZSfthyad0p5Y6RPPBzMV+ovf7QYhgH3lcLnt750+kwgVk2xy1+4jKLvmY
lm7cSU0u2VB0DKq51R/8yiQA0cX7kjYPGRxYoyZZzZxHIgAzcLe2Mg4J8RVm9Rw8LeC63hh4EUfi
Nzc5uA8uI0TM6hqaLxdaN4qe89LzaXbWu3W0h3a7pemTtweWz0223Z1pLZkkQ/IsUhxtqN03wp7A
abveeQCyTAmbgbcIipNK+x+R7++Yc4zY8XlACzUJk9bgQOLSskkq5vPJgl07WoCiYnlA37chuDLm
4j/JTVayu9ZFv4NW6O/oAcFHkD7dsW48GuNC0W21d10nH4z88KWmn3UekKFeefciAmUlrKth2s+q
zSkyneLmxsgYhEUvCNncazD9Kss4xZprocuICpjW3AClqdHPE6ZFEBHvW8VxZKDIHezmI09m97Jq
m6hdC8qiftS7WkNpNeZur1gRh84EvGW3qgkTbxSHyUfTKRMJat4bNZRPuSH7k9wXgxYDt738GiXz
R+8PN9TmxQV76XmK10COQZ7jVBwzwbXLmSYkKEV9EZLYP5V240YI50GV+GYk86ftlAEZT6r+UyVc
npKg3HQFw5VInqYIXRIQ5n3nK07NKYCgUH2tX01HaJSdd2+N4MLFa0drj0Ddd3xs4Rq31Ug6EqQF
Og7inGR8moYe7SoE5sR4rQc9XovGejWPfU7yWdLdhM2oos+D6qSy1Tctn4O0nF6jAo18ksPAxKqx
b9tkH/ulBoNNuBpx5vQHdExndhAGcWn8gN7c3BbFIGAtgS3v3ywvDbmaw+CU8N7L+Kvlcr21Z2CZ
uOIK5fr7YdIv06pXjgOHBBazgBtnSpCcPWwjkWfBrsFjsu3zmOS3sl8fG6ZVQdrijqbK8pjH6uaN
NEWjNElDxJIuso8dPfE2rKPqFiV9wrwI9XJK2VViDCEfe1tpBFJjXt9Nj9S4iev9GBcEokfTJeeZ
bF1/3PsxHWy7Gr/GmbEzlC0+In+qT9oHDg4CMbf9nW0TnOsYrbW1RXXsi5z3rDsafu6FoGSaXfwz
yqcfKirIkQdbRk00BOS0nYsEzosk47nybwkWOm5XSXRY31qCOQYkQZNZwfKL7gOhZGbPY3BTYgXW
S8Pc0swmrqrW8BFmU8tTt8shxT5IojI7E7Sf331NIsd4FE3FDqZKd7HM+K4yOrvgK/8485LtHXP6
nZDorLmq2Rk2tSLmjmw3Wj1J49ggkoI5Q6ZNJopjxhBG150i8aYCbwrMPTfscedJE9XRTASq9jBV
uIeUiitMMPTyuxsNkFik28Ud7ogZ05MVpRTfPqk73b2y6Yvx5r9Y9tq6SaqjPeAptP1DXzBU0FPC
e2I1DuzOIttl4IrR8Rk5Kp7lJYv69iDbN7UAHV9jqDl5Mxq9/c3s57egdN8yi3Yh8JMDgoJQezSN
Ck16YO99BbWVHPX3MMuPmekDji3kO2MqnosSGL870xcJUvmd+AXIj7SFUl+3fxETTcY6vK2gKRYu
JXvLbQRWxxv4nanIboCloNoxq4t786iC5VRgsa8YL1NpVQtBNNk07wwOiTNJZngwhwkMcQy8uCJ3
EOTHJrKL6iPPYXhW2e/KhTpA8sLFlkydAorAieOqpw+64058qikX37H+9t2sP93EJTslN5FZnqjF
IHLlmiQDt74Bbbo69OTpML9UQf1kK8CC1lCfo45/gAOwaYsRhctnMJFQ6JEuUSuWE2UX6Lq5qb8w
FLaburN2LrvXyUgD/K1/sQ07F/NXxf00NJXhntwG4aYsrQSCdKHYBNBy5RYh44nbXRP864sQfzHD
p+vg81WYEe0D6X0oRx3SUopHYSjxSHdObHRMY9hmLMxobwFuRtFAf51w2pG07Um7H2YKYJbxrRlz
5U7gSjqj+7MU6XgvrKcpeEiHyvrBOcG/O5MTICRAWu6i6Kn41i72UFPlKXmHztCu9tNDXvNcm5xe
rOgVt6WAjQzd2bIpMvt90J8RI8PLYnYFYbPqiVVUwoxKsVhF18LoKE69tVnLoKlvHlO9yJ3fDZoI
TsSgeZf+IChLGEP5BgTjPtAn3sNi3FccMzvASohQJXk7M4kFUO5fUEY9ztHcboOCkIiyeJ6lf9Nt
9XMAsrGVKNRz10KxksNDlS0lsSUZR80oYoemgGJgI0RvEFyVkZeHXverz9aciHlLGX52e/JvQZjR
SV2MJz3llJBNwLA7yYH32nt3KMetI4sUbNl6M3D64lDlAQVWOe36qCXEuwgL+Kzc9UYgGNFyI+BA
HE2nSHjzWha2yb43u8fZK5dTmUQUq2DMGDyzp2oEh9vBq781B/558SGtGkT3qYz2rmNVP3L2RXrb
0R01Sr0ZzWQ+0jXou/JIjmd1lMgqz7mkn4Hhj8I+Owk8bEkw3E3oF6G9rLj01mW0FpV7lFffgHXa
Q26BDe5Kzb7Mx213tJssLupYLiBsN4lMEBBn3kNAAYWlFRgdeqpw9hsaLAmv4BzAFMwa0mICN4y1
ZCdwjVsPUAizMbzavTUhtE8WpnPLhJb22VWzvnReN5wgAkGr19T35UKEsM0ztklpjwPfOeKLRX8W
6kzXROxoEbrVQg5d5j4kg0bESB+NI5ULXIUsj2W3KSaWJdmtO0ZA3MbgAF8W5mbzlD03Vcm9q4/e
rP5LdASH/NMDk9X9LzWOgNKUCWjiUKzMjRuRm9uinVg1f1WanlKnUDszE3+Wucx3sb1KlbOoPM/0
qdpZjieC6t1T2SWQ3hkQIuDOCsjG3WsRWMW+MIS17UzWy7+BmkZAGE9RfjZbXINE9nKCDIA2ijY5
uQFAS6ch1gRS7NZoac5NybuTvnhCLEzko2dbFe3+n8SzapttEfXW0fUn+MOORU9+FVtyEsDOQ0KG
4fMsbYvc75VbwRt2o/VMc2VoXnsd12c9D+KYmD3yifHuSdEfoogG+KYn6ePckT9E1Hp8+vfjRNKj
J8l/kjz3MnYmmrA5dsISou/mP+pvQm2ac6qHZ5rdLXkHsj4bFqm1po7MUOtlXLYY25imMsnIQ8NV
Typq5gORPvacoexo/XprAhfe9CVPVRLztpUioCUeIECLK0L6fAMEMYKAfW2mvxq/Po4jL4c0oPkW
CXjuYO7bXRD81r1u97NGMi7kcYQQfYLKt11yFmKPAUlxDoOjXkWl9aq7Baj1VeOQ2UWYaYuNdrAi
Q3uE24IvHiUGYxrvdTGVj+oQNedWdLFz8Nz6qJKy3PWL8SnoQDBeqZ4GEblYq4iC5LW9oUPPGIta
n9USmGfmRfzSjvUpbRkQJ3VPHB01TGAtYoMnhsKLQCNpPecm0QWZA96OweF/fiHy58wLNx0Wn9Q6
3EEfskLyKswHOeSXcaavreIJuqjYQ69kVofmJOZ/7RA83mGgvy3el+3HGlUHkuEicA6wASUbl3vK
hfU3NnTAMUsWUx5EYusUGY8Zuzg9sNbZwSQEgs/9fEOgw7BDPki2KnDU3SDGd9sS9qFlkws8XZ0y
+u7nKI/8MyYOnMpEHPtA6rf0pFYtbTLL78KyVglj1W4TEjQ4/uW0tYbmiyvuD38S03YuvRsHYLpx
TDWfQS4sZ7/OnH07tM9Ip8ddWnrPAdcBlxsJ8T6HMiYEo6joagIegADXt8idePtIExIvgEXfF6ix
xO4ZH7KfLO6+EXrj4uufctij+viP1nmmiXpwsuCJiwPF0/zl5qs5YFjyNTbzTu5FfF7MfaXiB9Ta
a6Ti0G4hDd7jeA2kiappy6DZOVfVNgp4bshO96bLm6A4ohlvidAIaGU2uP/3nV28/HurREQ3ZLSS
fteYycVw4NfwZ+P6Z1n+Uz3/+2Xpaib7ESlh2CAG48lr8ZnQETdxi7TlHqjJeyECIvAm+pMe6Q0c
PfF+dpOINxAFXqTMw9iTIqYidHezSZoM36bWn7arTdzo60qBOpRdHCKNQjOjNz7JcT0d5p+JsPuz
0cb8ES6WlwY3AUEfHDFj1ILY5brS1tFHZRu3CMLp0WZPkrp8LvAn7EW89OzJCbhxmKd/4O9xznUZ
NQYCZ1Sj5V5LmmqZZRyHdl3dmXPOY35kc5XbD0nsHK2Zy75k+DM6BQ2zODq0i4Py0i5PJEiGNOam
rRlBnwiiIQyOKfNhpLrTbxrknPtgs8h2MHkYvHuxzZZgWCOTTINmdRo7JLKum5yVv0Bm3hEnWfRk
gQlXEWhLlBs9sWedM1ANYKAh/9h7iH3wzva8bk6N9goIltj+lx3q/+GbXe1N/8tdFJi262O9senK
CXwv/4d7Mw5GAJ/x1KFQz/4s5C+EmevnRBwwTJoJ2dxkmvUL/c45IzyxaKEwNZvlV0Ab7/D//1n4
pv/rh3Fs4buWY3tcRSx3/WH/y8RLUs8sAULXR9NEPu25DqDDuURylJs3q2lfuJGQ6tARdYn6ilZQ
AkVxsKuwF/6CbrmO3+v6JefVupJRWF1XJTSt5ucmIYpZ0imrdB9mzpzQfSKzekz8KvSsxIAqbkM9
J2yUaZ19HopyCDEW9NfI8RBRYtbdinTotoOfzWe/onAa8/KQCid/HgaLqOzloQEm/JfJ/bepTf8o
rCZBl4vUiCNH8cIzjzVLgpwGQzlvswvUZo5JLEvNJ6NJ2d1H7Z6wrFYHt6a2d1zqH2JAgEk5nb8Z
M7FnORo/azS8dnuq1y7K2EKinRgWlgnRxX5jpj+WgNJSFtUO6QgOlSQ+ZdLXJ+UMp8hs5N1Jmw+r
G8trnBj1JbW52MxR9Ww0nX+mDYGtoNPigQCYGJBqyjbpTv2OWA5OzMW37zAws001RdeAAIh3mihF
zMycW7e9993sYfQ8ujA9Uwkkt/ahKCIEbXXmn0wXUCBrMjhYbKU7Gj/DAfGD2NeG+VG4CwmCrv/s
tMVyq2lGh0MDkaFNG40XPOuJ7YMQMDnddx5VpGWi9sUjQciwsArjSufwN0eFwKXNj5lnNBFH2BUX
J7IPpIZPV69iEwRbCtQaWuS2dNy7CUb4e0pyoK5PnBLVF0KDlJDh5MjU0v0KED2GvtW8p9GUXw2m
lKjaHNZ9lF9xxHLQ01qsS8t6tQx8TsWS/cR2cvSawt+hahtQCDrLjxK4/TZtir92Y8FWL1lM+FFm
9NN59x54w6coBPE4mlbYOBfmzZFdeXKi8lGt/5VJKDSbf1+oWFCgIrGVk61FcqTfEpLjoVWjI8i0
n8wKDHmxZ03hv+/89z1Y6OkYzVXyn99oeoYXSj3PRyJrSHBnaZ+dgXx6hZdts3QWJambEqeFjO6U
uMH0TKZQd3QEMrepp+XjQ+NBP1AxiE6IztnWsbegmS1e6rlub3VAnI2ZZ8SGNPRSFyopVCBkVvBO
Vi/9eEE7BAiy9OJjI+0tI/n5GgRjsCkk4rFkkCcJjXNvGd2f1kgsTvaeE6Cmi4Hbq9pYJIw/U2+i
qibvrGXpKxWh+4Ubu4/rCDsUH+x9GIn8CMbcv5ldlVGJO2C9aRY+oz+vNyWZgafI6Rl4R7j2dGVt
RZM199z928Z6fPNR0rhiiHc93Kgdykz3kmYmXHaML7k/kGlSoPD1ZEYvcPa+/bjujr6lnSvYoBfY
Pc1t0pI5ppgAZtvj/7B3Hkty41oafiJ20INcTnpbWUampA1DJUPvPZ9+PiJ1laXq7quY/SwaDQIg
k8piEsA5v9k0RQVtsZ0I5eVVsuI7qzaeOZHKJZCjgKmASjQhEWMvSHXkhyAz7iJb7Q9Gnq+TOG+P
kVHJGFPDHhHVEj/HVakZ+v4oXEClJKdx7RRFuEXx94UQb7UE7Jds1THfOYkTriyfsMx/fzlr4m/v
ZmHZKBChMGmq0GLfTBRxpemeXav5DkTBkqVvtTS1LDqoehqdrB4DSmQPviNEWMGYSYAMOIhXk/qP
V66lhids1C9ayUYpyyCRkGv5QTTxD7eoz0zYmwaEZcJRtWz0hmHxmo6hv53LnMomyAcGajdokbGu
fYgavUMCD6yXflSTmic+xb3Y41Vuxhg2NYnO6tQylPsu6lea+pBkhN4DwofLbnKabVcN4mwDVgtz
B0OR3tAIdJOvImZYLGoW9IQ6c/0Ps6D2u57C/K9wVMNxEQ0z4ba71hsli0IBSq+OQw5sLCvPpm/d
Q8Bb2Gw+VpZmZec6PRR5d/J5BxLDKrfhkJlkNAHk8fbpwbcX780qDPGp/0I6CdQc6q7gdVM4Yf/9
kTB/FyS43qmpq1i/acJw//Z9Q0NUvNyrQMJHeEroJc69swjrTnf6VeaXMGTq/uvgVw9l41TPjf11
GEnFCxuRhSaD2OF46dE2MPHC6gpB8dRFpFEcUyTuTg4g7nWFgQoJS9RfrVDXFwMC6Cs7KyzWqnDI
LBKgiyIVxrbrKx05pnSrs6f4iH3l9266KKMzPBQFkrRDYu780LVhywL1VxvCO7EAGEFkH//zaVep
ZPLkV/P/hPw/EPIhxPOQ/Dsf/3+SLy9f0t/o+NdTfrLxHfMvh0CLSqgIGqbmCFaI/2HjO3+Z2JkY
QnNQG6N8xca3/lL56QuXH45p28Ll3fUfNr76Fxs8A/KMjQWdykL3/8LG135XmeGJJ1tnzLeh6obO
r/TNSzDSYI/Whsn+IQXBpTsDEOvJPaL+ku9Ye2hpQZyNzQsxCnC0QyKIrXeEH159Z/+0aP+n2xCu
IXhHwDHW9Te3MWlzYHkC0VQWOZi4RHeOaFa9iFr9BqMAznCkYytcKGuk/cSyUUFjQRIydn+4jb8t
13nbwng2TN1wSVZb8/vh1XLdMbWodjvD26mVWay8xEzWo6boe8VbGp3Y933+HNvevR26z0h5KFga
NstCS/FHzxADrI0OR0wU4tZ/uC12LW8nAov3ka2BOEIqhb3E/P29urEhrq1SE5W3Ex1uR6na5my1
y4uWB84pFSx6hoFcgZQzrSYd+VsEO1ZDpIPPKusW0U00F9bMhvbWa/1DV+TuSRuS6iTENsbC7lTr
ALstN73vc908jb+KpBBYKVl9vCpGZ1xnfW6Rog6GC4La4yFUwH6jTX4k945ha6jkZ3/EtsTO1e9K
6dgHMFT+Y2n57dId+i08efyJpl7ZkwD/4XrOsDQNrLZxWFjXTb0TZXL2NLK2tgrxuqsgoKpp/a0j
/2hNfbHkn52d1Wh6chD73yjjV89vcM2O8s3QrAWK9R3BDGI+ObnL7ujDw3WIBHTdsgFtuCmV8k5E
39wxvjejPjgmMQt4vMpIRCEziuB6/84juQhMrLXXtXtU0e+OdJTtEtW0iedH7cIS+EI6/SkP42hf
BWiJdmzP49ExN/i35F6ydwJ0YCNuK05/jCVZMcJ4RCcD93sz/0GygGV7+DG17HELCStdTX6HueMc
LZpKtkC1eXAdAwGfxtn2ncZefQy/Iwo88yXtNc5qP0Q23ecu2m9gXSOTjezQlQ/RE1Delx5eGAo0
WbWM0BmoEPe44PaymIqwn5mqYDStcWkRKV2Kitk2Nbc1iq8Lew6ZK6a5MSr9fvKqncjYSWiu9aSh
FAIuF3x4S67L7wgZFXCSrJT1pa6x7hvLdq0MiCgWQ/kCTHrjiXttEp9ZTSubAhgPezbvI1ZQCUlx
1iAQHh+aobkTcfJdMwHyNinqvVU6iWVtDIDEoRKuMvFJKwjNpUT2gO1dIvXF7wowohYWuTgzwVnj
BzCoWyPuvw9klCxkH3F1dbVtlgq02Qs4FoAmSExkw5l4I9Zlfmvcm2k2rZIq4KkYSc2C4QYmYH8d
fQ3FTIS0Afr2PxKb3W+Mk8YiaRXwyzY5eALh6VZLfHiGoS/YbhfWOfMqtL97bxWW+CjOGf+dmxiH
nA3IKrBNYqIWhYlYS7KQVTVCseRWpE1grYhNE92dOxSrfBnDZFpL6Q2o/Bfbr60Nuv4NIGfUODof
4bKFPJZF02bvsS/Bn/HXEFmL58HyjFuHbLsdylplDdM2UqxdW4fZAS2wcFr2g/kRn0wb2DNt7ThR
zDVTn1DqHpOPepBp07pRyuwAfTmvj7eBGhaY5O2EvZLdssDINiA+OQ/nkcERja+0WmYK4Bd54rXx
WspRoRtD0uyxWZOHpBiyg6zJYrJbByKBPPXVnYyqiojBqK2bWsXLvoTNL4ff7s3BsojdkLwF2Qp7
hpuXlxeyVVZLebu8QrJlhKEh2SkVdLD7vcXKboGgK5xBX4OZg2krYGtz61sN6mt+eSTM5my6yLuv
PWJ8veqt8ZIHsF1hjQVzJzTrb8hvd3hFfLBtHXK9fcgADhCFnD6YRvuDbdChSPJ06VpKgiVt0KzR
TEt3xsT2jt+Fuld4sS/gmDpog1Y7T/UfTcUmRxoG0aIT0SOeyYvINi5erLoAMpsH3XewOcfFAntv
cmKkvVmiArl1k2zBVgo3R8e8C7LRO2XZZ/gh56EAjdREcwhYgfPguQUCAqATM7vaZQa+nJ5e4TFq
RckyULUnN1PDbd4Vd8rgBTCmkz0MnOmdbuRbT6m/1mJcTyFBjyrrBwBGeczruYQ7NHPmPZj2RWC2
5EqB4KduZAEYHBXSoLCwxwmtU0ATXhMC/e7VGldpV13j2tAu4hkTH47OWoSpzuuXFbGlfS/5/X4q
24sdtPkqVIxp0wAZ8+0TivOQeexsziAM7bpt5kkLxEtrm2C0HCBDdQtyFW9sFTIn2CECk+GIa8Hw
fmTfuzAyvYLD6oAfKY71gCeZmPwdAvDeSjctaxO23wg9fTen6aVTq/eWUhF56kS50xV35xL6QpEw
LC5Zgs6EAQkTlGGUH80frPfchQdYNG/wO+gC4rNl3H2pBxSKRdVqEE/DfG3bzKNqpR+DGEkZgq9k
YHgBWJBTGjjiHSkPIMLaIrXZM5SdTjq/XdXJvaPibc7uBhp5EfwIcySQSu3IluOb5oDHHX1IhOUF
69znEN/blS6iYEa4H1KBwlEfGh/t9kvWAfslqolFYlIOOzQTnrQWx8jOxHJMQyki0+wXPYWdMJAO
AHtcrknjwY9xcd/JCwBHwzkBE7Y08+luUgA5TjBhLJ1Mb0+Oa6niWe2qPAF6aWxqYew15F8Id53i
ZNyyxNipE0RyHuyLrQfjRvVZb5owd3Z6vtF0/Vi23bD2x4CUYxMr9zmrmX03fJ/EzKmAi7bBJmnj
N/3nMFdhc/ikxPzgAWzwV37i+w59UTRCUsQUrBNQ9lUssvdeA+0oyKt3Np6Q3aNjWkDocHP3kH5X
Kv1L1RU7I8BtBR45mE0neDZC4vSqEy/xa8ZRrbhEUwLKscuPBgQMorGkglBT7BQw/4gb3asBRjTW
BC/JeBxTDGM8A0azMwxHZB43CoimpW7fs/Lbx5ZfLye2y0oYJEA2hsdKQyrYnu05kaT5QVKSZwsF
5RwiQyZSd90VKHCk6uehxPo3cIuvZgYxphdls5DOamXILBaHT72L+aTb4UuAkRiBAKO4DFFtMkMR
5GwH6Ls+ajzDXk2bg546944o72ubTBJIFJKDMVSl/qya4gOhZBIGKc+hciidjgRwP94Poc8XPToP
XlWvLa1DzKHzeTyI9GDQNyzx3n4UHpaKXhDgJgigYhAWk3AFq8zK9V0huo+R2lnLOSxLvKjix0G6
Hx5oM8NaSiM82XZ6IGGC6FC4C4bxZDeDv7AU9ZQlIEOnrj1W06OOfsAavqmP63PxuTCQDWpNMGp4
a2JPYbxD8sUJMaEPveCsqsm7MbK/O4P6ZRwAGHnvlcA+xGY1m1mCYMyffDetFl40npAZ+Zb16ce8
IPuphjv3OLZ5Bw4FcSusOpI7kSTmzL0a0rukROIrzEZ2U3OPbLt2a4nNWspG7T0v3pVMMuTo9Wc5
yivSal20sNNGpv87hUXMVof/smh0FGB9D0/iCMeVuylzx5MOnAf6+ninF9a60ZV0nRBIXcTw06YZ
DL8IKzD9uY7dukDhZaGizQt8twILpv4Quy4vx5Phl2IdhNljZXr7tKjF2Wh01Mg1Vnr5ROxPoJhG
zFdf2hNTGjH34awp70Ih+BfOdwKQaVrbtYdUhS34+oCMr10jXvTVhERviwyFGv7wkZe4wKunGKD3
mF33pQ+qDp4ZmkdWPhakSgdvth0xzjjtxBP/zxGHb/QmRWNV/667PRqZyvBZKYBCEZhji+TBlh+c
fYrqeh2G9jbLwE9Y8arUp/bOSeNwrRrFD0WxL7EwhsPU+JdeNwwmvca40/wOo5kkOb+oeApySr5X
c3uv51176K3qbPZafecP6gPUF3WPynJ6KsZ0FThKzbmiXgTzH7Eg9Lbx0SxeqHqeL8daG9dO2XnL
wur2YwVNKw3zhYIHNGxxd0+Crr2L4fffodTUZ158B/kF8tZYvoS5fzBMrzm6sGQO7jA9ei3sUEzP
EZBHispP4x+BzT268dYAibV2Up6seLLQG7Xis9aN8xLc+lhmvPfx2SBdQzK8EZ8ci79KUgFoZ8fR
3emVuu/AbTEvjQdyRZck1jzMuirCh1bmoR1ZWsz92OBq44h5QF4e3THYw1Xr75K5cPX+O3ZL5iad
SYb2hHwcXCUkPXp0kOyGlYtJ0ol8otfcOUb44vrI8oWeE58g7q7SRMUyS5++Oflwb7kvQDF5LPqD
LLq5piDqhBbNXK1bDfEc2WX4rcMkxY4uKA/FjO2QNQQlIALcjmWjWVSQEGU1kP1s5H+O/8fGmjR7
bEyg5tq8XzYB37Y9S4DJWqijcvavh3JINZ8ha7dz5Wm3Q1m7XcoxR95VCaAyeWV5Ad7fltLA3lBU
iCAqvD5ZuxX/2uZks5XBP51XYqkZ2nmMXChY9dulBPrpEBfmT5JFWqb1tXa91u2jQiCrP0fC40i9
ztyXSPmoAj/J+fRX/b6JIs9atsaO3f28I3ksr9e27WdQmIAs1apBAn3+zLgEGr+W1aSr94mvv09A
ieB6HF0CJUtYeBrJrMC0xbJCu/RK7cKhHGv82gvsW/0agbEYHh2oeG9VtgnyTD6Cx5H/EA7CR4eY
p7pF7TmwUxzQzDw9j60gF4nUAOJ+XnLG6gumX1BjgTQfdr6WnEOFJKISgInvix4lrZo8qgq3dTLY
SicIDq3NpLdAO9vtLswqbU96wTgJ6J2g9p4EOa7AjHYtsnmnaFagKYIqWKoGc5gWIITV193eqdRL
JFz0ZSdrrEg9M49CWwg2o7sTzZSfxu7wno34dOoyZTrJmlPpLBJyl5l27tDmIjMclOq8aI9/7c9h
/qRNJxCcWMVqM2MMZEnBnUzWJ3CPGQqP0NCnkT1BHQNbKAxvhdKttlYbTNXR4jigYuKfmrnQiF3U
kW/to7LU4PiZ9gppIwWhEnYqoIlK46jjij1HtrWaC7KdZ3qZ8uHE2xSraz99V+qW4L3MiMpX+lOs
wCEZQSfgFgJNURFFyjY9IcIwhB8EQKczkJ+EtRupK0RGvgaupW/AQ6ILUJc7xBiP6aRaR8zhdl7J
znBK7HiBQEy6tYfwi1cOWJtE4XPl2uHWd3L1pCYOSOG5JgujB7hB6mZa6glyupEVboj9KAZ/gm6K
9XwlRwHEyzZEZpKFhj400PrMPlqGtoMgKFbkMb66bOdPwqqqQ+Y3a2U+aucnhf0FcUrTRu/kV1sg
CK2AdK27HvQcq94IfvdJPliy5nSoYUYWcCB8BEYWjg06wK29A8hnnNy+MbZxFJEFN/ViBV4/trQT
cEcDI3EKuy+Mk9Ps8Edi0afzTwn7fu2r+QQ+lh3lmKOyoA4VqAMF7R5+JCddTZWTrCU+wK/QCJFk
Sgus7k8CesIubC18NwxLydZg6T6CNj9Udo/CYtmjxRZ38cnWk/hkiAbN361rDhpiSrRiBFaB/0+J
8OROdBK/RsrhshDOEcGhd8SjYxT90H00utRdAZchZTH/iYLZe8KZv8NmfuhlobVhvgTJhJ5lXbAR
tKLjFPQ/CyX0EUmTx9eqokTAO0ELwAGegCwxEEGe6JhDEfhtoOySV5P98hDPQAw3YwMO9nzOreP2
qbLtdug2JYpALUveW9vtQwuDpNbYfjQip8nxXw3jV7eOAzFbANPdvLq/2yfebq+Ud550RM48cgFL
2dPzwLlmpG5v424fe7uVN3crh7y5DTlYjgNi/DVpy3MFInPrm4nKvOuzKyjip7gVJ6cPkDCvGviq
yBrf5wScd0ZhPOeJqdxFlZ4tfSI/+LhAF4+BAJ7dIN70yLDcebkLf3T4qlZKAX7Q5ddQWQC2rUQD
mKbrszQj5lmTvWNVH4wNojvRx1qo24SYxVqv4q8669y1Y7suLyl2uiY2sAuDX6eJrtKiUGEgsbcM
PiMREeZoAACtBbTQD9PBDHV1mzaoVdq6tjVb9PDRpcUpBNkS9jVbohtsR40hXHI4C49M0GRrloOW
CzVT0XAfQgUCGuFneJnOxy74UjTBpqgG7SJCyHwdfIuqe8g63rNIgrRLHMHaJbhHaBFZ/ClQmJaB
bGInTgIX3q3xtTXrr3GbmAiNAowDxg2qYIjuGrP7VHvOfYpU3EYBUhXE9THSPrJPs47JmKwn/kZr
3ufe2ss1QqpOnx9L2M1KG7hPnqXqyzwCEK2QS8yDAYLV6B9Z95O/tovNhJQIDG/zBTtFgLFqv8/4
CT7qeYxA4ogvU4PZyNZV0d0tMLAdKpqynKyrQbxHM2tIui1+snqtvvRl/blRLQ2AMxuLyTSABjxP
keU/pXW8Jadqb3hIzj1iL7CmovsOd5qNqIYLtox3CLRE8I8K85DspsGM2YIpi7axqwfVbciLQhps
OyXboc3YHy0A8X14URq73uLmd8hd0z4NDqrG6B/NUp5tcdd8jjwbactuLN41bnhoCF/u8y4yF23m
1ZDoW2sT4OIJLiIHKdSyXcpTEwZjPW26rrAetQjF4KqxF11un3ul186eirBhkRoH+BIQL7zAOZZh
/x0F5nFLgYbCmEAHbPp2TewMkKg7TVsv1ZUFztwQty1f2bMgyddeoCAq3GNljxLxMkKnZROYXbmQ
aPgCtFbr9O3eRvQKNiEIaast9FkM8YcZOPEF9VVwKjxRRNoMgnz9FiH5duOiM7LBC89at0n/wq5v
EQ02pFTQZ/sydcCh2s01Lff/Sd8/Jn1N9VWK7m8i7CR96/hNznc+42fOV9Pdv1yM3cn5CoPk0JxU
veZ8NaH/ZZqqprpAAV0dg49fAuxC+8sA40H0xHQsA9wDKcCfKV+LLujV9Bq4JJGoNf8vKV+yhb8l
E+f70XQNrXdbc1RTdYw3eAyHHCJAbNX8PtXNj2oYfQTTrPCua5NkBQpy+hICbY61JvoGt1+HiKgZ
D1VUw4MQosNOKl8OQT88+AEGE20LY8NFkPUJ06b6oQ3RDcSt9EkWftuQLkxSaxv42HH6ZWGeW8u5
F0KLimUDmXTBQrQ7XAejWHloTZZLME0T5AyxVTLCjncwu5c6wc7lVyFQLTs7QRMMizFEMaPuy3R1
65Y1OUbWuk4oJ4Ift+ZM9z5UIgVfwsIUF6ZSe8Yb9M4qq/a7FmMmobXtp7EaslU3WLhf+XFyiFWD
uREW55MJnR/Kjd6tsWcmGKrm1TnVPZAtjVfswI+8vzXJdlnc2konWdfwR8jTcJIS2vWpR2POyHF0
TkDxInZIAfFwQPicGk9asnOr9G/tDtxaDNQLwj5ytCyux/kQ0ycvFDr9vkr6dgcfjjbrehZvONQC
DRhlFUL3mCzUD34PKdQcFeQwAayz0G6RvEJkIz2C7URA523VC9P0aBbwEVxi1jHBfmxdeKkNZ1mb
0LwaF+jdR8e5V3Y0Ze5vMwtDODVC8Qs4TPkpnPBQ8rrOP5iu7zyj+4WtR/HJ9Qp/OyCAItx2uAuG
dIYPiuITwHZ0ipAmPzpRa37Q9Hwp+qL8NOh2thNGBV5yHgal7CFHLf9RRHb/6nTQcSZ5SD/YFlC8
xYp0VHhwnPL+eigta2wP7YIUaOHWzlSkqE3nQuKGOayFXtgNpbIqiQVehJa7F2suyNwfg1Yzj7d2
PNO9g9D9B9kkixZrjouZxN0qTPuf10CcEBKzj6N6nUU9okkUnWp1KFggmaYMPF9vOuSQW1sd4nRu
BHW+LkQkjkA5gq1Wlx/lUTuZTQURh463x4GS0MWmWRyTJEUYr8VY5DYSS6V5ou30n2fKHkwy1l7p
gybAL+NRFmoCeRk05l2atc1jW2jNscrCh5K0zreOINpIuvaLUYTaIilc//1Yp8YqzIV+AU88sXHT
0qMX9cVRhP4AVNhtj75aKP37oAESufb0VLkLapXdYjlqu4FFxP21SDJ0elhEvmqaOxWntJbou2Ll
/GtsOFuKftOHIfh57tyTRjUk0ywxSfHn6QJqBIwRzX3X8Q96lIWp83du7cAkZPGfttCbZqywcU4J
0hI0TdqT6ijXk7ww8vdkphD/mdETLkTRE5hqeRBGmEJc26/VYKxBWbjQVPwKGVc5SCIvQPIH3cIM
vGE9GhqEMtRp75zRT9VFaZ4jKE1n2EvBHcnO4M7yNdo9B8ICyxFzex3X4ldz7U9BzxiwFpCWbLYK
utiPdZWMj2Il69eiR7zbr8eZPhRrj7JtErwdYw+f7rlpQK711Ij4+XYSXH1S5r9f1LteIPe7Cxk5
gz8jvlMOMZlJ1duzdGK9NsVtvYl60S3lobR6lS6uv8be2lGxqjepoiDdwG/6kE7Iok0mhq19pLvL
YLDSr06+UpQEEarGLjFbTuMzutEMsH7OCn8eYEWkrCz/D0hCMF9vJlkXqKOOFCf/Waahv51kc/Im
Of6P1nfbFe2u4ds/DUaFo5HlYjgvYPRuy7R5r+gaIa/ULOI1uoL5tpi/89ZRVuOgWxe/5Y+mdRbx
6TFD7HXulG2Br7FdAU9yQH3WOmuI+KVmFTv7LIpekskiXq7isTphG6/zhCYdYkTFmCHoxJEs+m6f
2IjqXQ+K8KQGU3jfBL3yzmpALaiu255kZ4FS7TLLqmovD1WylrXNElUgzHdJEks5GNOorItEJVaR
lCi7p9E3TQ3hFrfa+9yeJeRJuG1GDaxS0CGogzjnfRiZYlshKH/w6k47mym0ddtTgTVkYFGDeoi3
YxK2q6jV44PeIysbdJ35qLQUaHh0C95aHnZN0XzYJXdIipzkkRzm1Ki4o7NqIDUqzMfrsH2roVoX
6EZ6nxPE3pJxVbZuE4r3llAvduV3L54fawuerul+Kqvp2Lo+IbJ0yF886ABQXLS0FqsJZaPhoYnt
u1eLyH9Awen670hZk0dBuJolTMuxbBCzbz3fRKQPKfKa/reeROAqAQL1SFRyejD8dRzpmP2VHYQ3
iFP3tjOmm9GrGwj+A5pcRQoOFW7Vovej4QiiiSfgl6kza1FSzqmiQTXqvOOtQ9ZkG+8d5drxpu12
7psOefivbawwIYkNWHqHeraGEmKdCzNW9prlIDjQmd19CkJsGZiK+TyK9sk18DWtyNmBuPe/QgzU
kFHzES/rgxjxIYGqLKRJhwzefBywREixy6H1WpWtaJLUWx1HgOvweaBsJ2sxLOKwTU59ZEc7ZIzr
feGlxcWNMEtEYcd9dvLmMmq59z1Usi1KVMU+dZHI1NxevUv0dlr3UVcDrko5RPAP3d+5ShT/EhV2
fJDjZNPozUC7FNHSOcfM1GC9DGXsIvvGb21Ckhpp0Q4z1UiNH3xUjx7UolFpY1VAiDp+MBBcenDM
IN3iNF0uZZscZyqlsksdrMvkoSx6NFQObTQ+35rMoUvPYjL2Bl85ohC9vuNTIpBbsfE+JvmeDrZ9
lAWicz1EQlzss3mFcOuQNdmG9Dxp2H/qbivEjweoRqs35zW6X1ekNowvOHxWJ9v1v5vJoN0Nswmd
QCzAN/zwnYaYzFMw5usUyPVjoSqITruGv9SaQHuxhbnzfEf/KKaUTXznJ/veD9QnJpevcoAOfgwe
YP2EglO5B0imbgrFUD5WrbM1i157cT18Bgzyhhc7RosRH3BwAHNHsvWzeOtPOlEOTACX6Mf45xhi
yXm0dQilZCT2fa37aNsglVx6zX2YBypyyXbwBAvc3UUCvz7ZKYtOqe7HSlPP8ug2gmQ1p89n/bqG
HIENjne9RoMeOcxFWLMldp1wS2bS57UqSaCK4dD6qjrcE1FQtgLRqDV20coHrwumFds4gnFkJj+o
hkF0w2E2kL12NazIICtPQZwpj33abq15VJdN5R/w/frvjDtTqEx0lukCVrY012Zf+zs41QtQI1Li
JPse6y4cJx08QI9exksRB8curkZyundaCLcbuYWOvK3Q3zttbh6aSDlhtIGwUgjKCTWBJN/I2c2J
wdLVY5BAh87wu4maftxMoAYXsHD6P6BrJcT5RrKYb98wLBO3TUtzeOk680z+Cls7JmnpTvbgfVP6
6Fy6Wf5hGIGoJY7xXBtFu896H5S+YZjPEbEqoLQlGwo2zO/KPIWKXZjPBrnOXZgjzCIPMXb6lhh1
dW84CmRTAmTXs4tMbMwmCLby2mCRHmp4UvCUMqAqA/Renxz8EdDPWCxk9XrciPooa7FVkjOxirE+
oiOnrPMxQ888zyOsDPDAxjUInaPW4ibMdk9cqKvAfeI1EiZCXItoqHsy+vNxHzklKss6GhgpQkVy
9jM9fx02jfNsakihDHo+oONcVE/8hr7JARW/7oVQFdy4p0TsvbyKN/Xg1p8SC3YP+L0vdU3sNx54
xRFQxUbNVaH81oUBS252Vft1aAJxAOShPKXwbc+RFgZnWZNFAPcdMoXTbt50hDh1Hf77pDvb673i
2Mg/P3teQ2XmMcRMtvn9z69hHqG6Q2TDeodvcwdvbIH+QoXQgnoBWjA+Gm5DIVzwc1hnbhAYGB9l
R6I0qE7Y43WYjxDZPvBJONo9zC1N3QP9BLnxECmx9xBXAZDiNv2A+rj3YE699zBqRby1fJeEd5KL
CCBRD8oVDjDATM6QAyff/8gL2zrKM2Q7FKv5qrIh801HXlUeyTPkVVN05pe3qwRjBVoY9XwE8fng
EIpviQqAYZTWAQ+uGLMDWZ0LWZNFTyj/0Nus/xFOpNripaZWBpjROM42//2voL2hOs1/BgJfMPAg
I+C+RPjs9z+DHqJPWYSW/i0pYGKF2Ktf0ip5RGY0OYjCjy+y6EYtvqDdHqG8jBaabJNjZa1qhLHu
YXIv33QMZd/sgdo9v2kfhyq+K/qnN83x/Om6H52aHB+02/XlsFqJQIAmhnL9dNl2LQx0c+u2QZX+
1/3+PANwPWAWfjq/d+BBgY8x+5tb++3DFA1QF+4fR9kp20Ny1+A2UIdJs7Jj6R9QNMBoFtfjt1U5
wEMEYk5FMPZV9dVpgZGXGqnpNxebjxulUFZYMLirthoAjJFSPcuaSJc6MfWzFbVP4eA/GX7lnMoc
XRMi2/nGChpc7vSZnSB7bMKQJ3k4Ep/aNJiHLeIIVK6rBP37WtdIcuJfRARquBMzOUwok/opSd16
qXWxdpp8J3sHDuko29lMRxt0T4sdJi/aJ51smt5VzzZRKlQ/KwS957P/4arQz6Y/MFeunLDfpw+4
5rrq2JY+OzbLjeCr6SPK8eLqOz39RtCDv7DtDZAyW905x321abwqPsqjPNLxBQr0NFkTcW2WsvFV
Tx/tBi8pz7IJMwPMwqEFuixBsdW7DR4m372OqYs4PY0klfGJbrdqz3tLjxE40gDYa1PvPMC1Yf0j
BPzTzH2QTVmT1QekJ0BhZaju63NRTHa1SSNkxmSbHBc34OdVMA5b2dajwZkyHwNdyKxjpvXWUdZu
hWyzA6QkeUXDQ57HCR0n42v1n8571Q2Sftwp6GBOoWe+vf6/ftzt08uaKXG0V/80FJyFOCR8R8gq
DcopF5lykjWMAz50saVs37QP87BbGzjEauHm5rw0IY58O//NuN70CxiVtrV605HnpdeBDuGqSCpg
bMXdLl81yivahMh2LnG0oLXMoxf3oB2IuB+hYvl1XNUbpaFddjpDHFaLFNnJ67jbGUTfHjwPlalb
0+00ec3A3IbeE9FdJCy4l7WKhv2HRrc+GXPoOx6A7xNn+AKpukNCLShxADTdexge68p2ys/O6ECh
GCt2GG0pTkEtrBWaG/Ynl0CN3PbbSVAAn1GTp0Hv4x0SQM0ui4JVD8/5onvTrnBE8QHBav9SJM0n
vBXLD5EfY+hVIjMqD9swEHv8ckAWy7Fpq28rlJrXyBKXH/oKV4kTwDrkT7K2vzeGqNqPqj1tCwtb
B6yhW/YrCfYk7ieY7jURdXKmnhJOj045Oahn4TpSxcY8o7fTY2EKAf+mUnayzYpQ9htD53qCbCLY
326yoGxXGBsBzJuv5PnGg1vkwVmOID/PP5AQF4I3JUKQbkSUeKwATF7feIM1zHBDokCjVrKV500p
C9l7ezPeOmLmFksnLn1r6uVFbi/U2yfd2uRo7dflvZ22l/O2P03M440LaljO69fjeUYfNcBVvuad
b0236V/7h9WAHHdbHLy53O1cvgKy6/LY1PrgD4sF43e2IGsFy7AdS7OgTqqCtfubFTs284og2298
9Q3laFd54iAZG3e7OHWKxfXYDYPgvi5xMB1mW6Vro1OiXIoQ6lo0I1QTYMjB/aROSGShX72SpzQg
IpcV2e0le+foUqLmu8ILe1wZih1dZJssMIqxt3WoFgvZYf0vYee15DiSbNsvghm0uI8kkzqpUtcL
rCS0BgLi6+9CZHWzu2bOOWYzMIQAMruSBCLct689jzo1QFDhTv7Y/x/hROM/tlgWmyt7/h+METKL
f9RHYjba1F6cNN/NOtjpdlRC0vT1dVfFPwdMtdS1VTXl8fM08N5aPOQwSfbV74HiPxe8t1610FAp
0Le8QwOP4JElPfCputBXdVKFB1C29kJvbPE4DYb3DFsPw1jVfc81jLSEY9oIiEIPk63uK3ZV9iUt
gvQKve6DsP71f18KzjnQfy/ILVezPNNxWQ6qmv1n5FSjCkgfcBH+bscQIDGYsm8QkRYT0OmLbKlU
kG5yIhfLlBK0fJnZxTWgvAH9CnOzfgZd6rNoG+P5dVLF4TLxJ/8w4FR4kGcQDc4QKAlEzf1kPO2a
wgFO5WF2OaFGXt33geWTlLB9PEpFfWiTVt2Iom3PIb7FlKkk6bMb4rfSeSWqgzoPl9DJFX6uFQUg
KjkQSVXgSHEm+yZTj3ed46P//qvrPk3O7RIRQEeYh5V6vlcUiVMwRtULy04LvVyUY59cKa/tmKnL
1PTxK5ybUGjeFHxizrKl6qtqmNpXb1CNS1dN10bJ4/+rVvbPNDLfQo8PJAsildW8rv0ZrPQVTR3K
2lK+RSiFNl2ufDFSkV/lwbcGyPtpfOHX9AjrRJn6GIHsg6eeXykjyvHBDfB1xOHIUyo/WLZ+YF8i
6iUiEY1klb9avQKgb74heN2ckFhHKgFZ/v1nWBF/U5clpryf7Fei+oXa0lULDfLalagmksr3Dh3e
WOjA2gkAhq1D0ADVHPUCxCr4tiwtzF9u2m/y1Ha/6j3VOYHlBU9jjJ2S0HL/oCZO+yDq2qUKpTjd
00HwL/hVDS35Z4qotm/UbhsAzEkRISbE4kGr/utF2LCp6TLiAph/Bmk/0kyKCy18/iltmGqQIsfk
nz8Bdd4lsvp+KSFAWVZ1j3VUn6JEBQk0c4H4UowPVWgkFPnQ1IRXrAmjBEMBt9yxj6Zf/8yTsrj0
RuRdB8N96vlWvdc4jKy7gfd97nf2exV2j0J48dOADyruNS6ExrkfxlBEIaCb7nIfc9Y4wfKWyB1F
TWO6tttegQr91yFU7d/Nuh1e/EQQY38KdQHN/O+D7pvGARivV4HEbsxdaqUr2SenjBSHHqDoaptk
9tDECrN707/XjjDe1LYaH7NKJXE9NxWlHECCjfbarqlgqlkSLHqRB6ff1xRBZd60ILQ3OKdWCNNx
EUn5z/je2I+TWqpfIhS4va2Io6i74skeCW+oMc5BI74CVqSYe6dvxxfED9uMnMsXg+zLg2Ik2a7o
oug9RoYg52eh5vDtLFELz5d7FhAaxfzAnjXfEsjtPpEM34f/F/ws/ku6QKNI/883Id86x5LvQPgC
7mcW6h+bDyvoyzrr6uKb27CHM0rXPmvzoZrCYdlmaryWfX1X1iQTVX2LX2B5vM8LKQo7oLk6Vr3R
oslClNw5g7YJxs57E3jMxEKfvmLI2IDXd4OjWfjj3hjzXQCa8JJbNi+k3Ib2HzUX2dVCgNuIGa16
75MDiPz4Aqfi0aeU8IIhfUThb4GAVNXZDGYGsgvSBf1BC108NahAm7MHkIqDGYph1+Nfp7LXtmHn
LP8xQZ6WJTmfOB4oBuPKdj58zp6v9mrQG7Gf2AdhUohmKn75ZA5hBIzaZeUw5uotqO0Wlw2nXVqx
M67jpgiP8uAz8TiWIPdIZOSre588c+fR/7GPKuXk4NvP91lyKjmycemqlGWHZaOSgsQUS1EqHO7M
FH/Rzvb1nTVvz/x582aX7brxNSQqc9dIiftZoczHmFuyi7LvdE9igrIf5PN4jvW89tmIGkUzflR1
GmzNABF6V9oA6aIQ7bZfwdlOTNJ+4OzlNP4w1iKH4XWiOsW4CShFsh81DGAn2Oo72dTZ06Fe/rDg
0CBgwiClSA6xhYpe4AP53M4HoZGAxxv5syfMjAUFYOU+tGvrnOTUU4ZWe9CHruZPwEEx+dukYR/v
J82un+D8Qs+M8UKRo+GEpA7ib7lTWDisxjiITshU6n0zpAXclaSj5EuFUe7aPiLFFntN0/9p29Ub
Oe36rW96Kkzniyo4eks7sON1GkSYGaAvZWsoTzFudPafB4X0/VKeQkf1N2VMHRgxbNS+umViEVl7
28BsE3VTBjm+akq2lbmdXJBxtNA5bWTiBzgapnnJuHdR5byxiADnPHnwDUJ3eiKEe8rn0EXg50g7
W2VYmZMb7ynKdi6h2QJnwO5AtuBhOBd5RmXnEp2mfXLTiKyEO6wTdfSnhXzmutEotq0efcjnLrU8
3u8B2Z6RsdNY6oc/ns+RZdz6Dv8k7B5L3lGZ/4CDdX+FcoYcvtajF1zQ56KLLPwwcT9xIGt+x8dw
L9zMp5Kwv+IzJJYdRZf8Gqg85cGtbLyD4eqrjrCoPJ4H0MT7pyLX3qPJIJktB3B31k9lBX0o99Sj
P04c3EzDroimi9d9h7aBdt3YzbZyysvnvLnrc1S2+Xog658Pch4fsYu81dCk56iGBQGn28SBQhVP
8oDjhYfs62YXZKD8uEpXvZ3UkBOZAJWqeCw18SJbHYTxp6qOv1lpqC41g6Bn6Vr+WR68Km5WLjKU
h3tfZyfKufe9dZA1Ni4Uf811EmfetYqf/CTlrKsVe06e5dlyHFDTyk45Wc0FWIk4PyVO0e4QgqT4
m3rb1srIfRFUvnRd/E12x5GZgG1vO8pXmCX4oKMGDaOznfvus9cqK9nfuk6xJ4uerCDTpO/JEGrL
McHN0NUCNrp2oX0plNIjlsqDIB9G7wLjF0mZ5tVffQDFcN7D4Ir2CdkCVhz8vkhQzVFQt+Xj4SgP
iU4ZKVXdf7UHBTPpoK+ADs99mRwO4rKDcK+3Bw3Xkl2X6tSYxUp+cTwoGw3U7x/ttHSGFqk46fal
6UfducAQgMxqxzsMe7dXTD6vcibC7te499wXiyq1tZL66d4L1T/uFbgmBpJ2eXH6STv0eOdAn5xP
MZE3qoU8HbCdK8su2KlAVw62+N45/GUabzb9CuzqpcqwaLLTPtoKNo0vqh/hqcobZM2ytX4pxhnW
Hzbagxz1oIFuJuTYKznquLjyNHYOTWKe3GQ80kxtUBayGQo1P3aCdYps5vzBnNS0bwHWjYTmRPjT
81Bn+T0+LnBFj+RCHPTOOAREmps/TQ1ofsvXfD7zAkowgMNtry31Dmx24pyqEVhj7xX6My6w2qJ1
yvFr06qHrjaUL4lu7gjGB892E7qXyRgp2VNxXyiU5AMcWvaoK3H4DCBYPFiQV5dFbuY7UrDjobB4
w4zZUR408n2fZ7LZaU52xOHl96jsU+BWPcD3IvjVBuMattqDirzzIA9EvtuDGcakulrXJqGVucpG
qc1uaxAwOMtD4WXRTuTt13uXPJuUGhF6VGhbJQNsGZnG+CXTvTNCnOS5daLqIPuDuT9WlbOSjPh9
1sahR7KzqvH1BZ2LPzYB5eIkz1TKE0/g+n+PjnNT9slRL0UK01NyhRUqrG59VK2TYQ/NY03Kawkj
sPom8KKdSjv7QKkNSlzPBEU4lf5UGsFXfWIFjFx0C0K8PiHzBig3n+nE+1Zssu0lsTL+TopLpxxx
7Zh0XgCHXjbvA/LiERbQwnDGfCMHZN/nHSwdzDVLtI0Jdt/jNYZCF4BKX5KzrrC4k82xCSinnZs+
oXroz+WxrwdE9lM9Htqyx64FI8DLVGJ9DSuNX53tMpSYobs0rROvEi2yCLfExkvuWhUxycxa1P9u
KlQNrf0xKY/ZV98t+BBXmfFMlWz0IQwTIkSOothsU3s9VK15KFK1OXjdGG2o2CqvyDUMPExhMJpR
WGz45qZn4ZmveZSrO2Nuya4oD9Jz6nTx0u7iep1bpML5Z2E4C5PqwdXmf9i6enRLO7xhFTZtWttR
10iau48wS5GTUY+kRcI5lmpaLOEZCND3KfXvXTQ8Rro9PbW6+ehhWv2h50W2Hqjh3MrL0e8sFJHH
10qJNzJxL5HNMlkvD3gqwYP+m+VcyAz/fY5JbQFFMNUDRgTmk27Ga5GK9i3l+3nIkFstfTNs32Kj
L9d9qAAXmUf5U2qLpuodIK6MqnmzzI3MfcZawL/kFbq+mPqWQgWmRCLdv5CWjR8Lm/z13JJd8pDn
H+MALMREKHiZFK/cAUK6qFDaV5WeFTu/appXPQOU2+KsfZDNVB++tmNvnWQr93V4tlV8ky3c/wJn
6J7UzI5AcVI/Vtr2sRl7+zjn6HAnmE9lWx6wkPHxJW5SnLT/migH/mh2TmGgDSv/cb/7Tf6Y+9/u
2VbkQNUenL2K2g7voQC4cg3lPCKwkjykrJuXkRlnD2ryNtqd/aOlQsMwYfwsCKadqwg+beNhBjMZ
RnDr50+r6NURp8ySyHvRa2ttVJOtjyEVeMY8A99HOr7mKfIlsOIzNY/ls+yPwuh3f66lZ4vl0E0X
X9ssCi/VQNitLIf6W2vNdKoheLX8hsV6zh6sgbj1WhN/kBMUrLR5+pvDGQcH7WhPWO6YUdB8y7Ep
GdCmfcH90XzA3g1gdZj2GDjG8ee93Tj+EeBe9DQEjbEzO1CBDZ/xj6kQS3lvA3Pg5dBOJclI0zmV
BqLqfP6tekCDIa6vC1KbgDBitOBSBS4PUv8tpeLy7D7wx7w/mnJyFUGFdu2Bqq9ZYH6/wR/3u/8M
nQU9yrypxABJTdZWMQ7bphrbD7deU7effGlsAwlsyp8p1tzkC0GepfCdkVioMaHhAFIip2VFe8SL
GNgX9hO41CvqImrH+jD0Tn2IVGqv7k0x9yWuQhGqHJbtz4l/X3LvK3FRWxRJ7a/+2+SwraNtbWFQ
qBVgjxODT4Huac/4n3wPSyiY5tyqR7icSW9NW9zIjbmk0wOfUrSZs5QBJf55rJWFK+w/Qk54fVGn
ZMOAniNIrkfkLW6it88I0v2Czzak40MzT1anUl3xlQ73ilCXZPjwRop0KFDybO5TIMz9Mo1yiQjC
o6rYYVsyH2TzfqA22zy02s97zx+zJnOgdrFNe2Ru1OzVRXNLZm3ciJYIOV/b7WVTaxWTxSW+SF6f
58927eborpSPuCe8XwElBFqaao8KFkMrKqHzjxRzjxD/jR/j4LwadtC/5oFtPZg1bNQ4c9THLqpU
mDgjosgyU/Y6JpI7zGnwVjZwLbRNCK7yMACJXfTsWjY2mK+L7GuVHr+Pbi0bI6Q1LLLwIoH60+4b
PCdz6ubA+qjJT63dl6GX/hJR+DNSXbJbSsKuAHeyx5Bk3L6e+gzbgb68IU0M8QMxi28pDknyItZI
l7aE5Kk2Zrzycms8d+DgdgZVj1pUr0M8M1ehMrXfKrGWiueoAoCIg2J0smdVn0ZZzlhMxRVrsR4w
Va5/ayflHLaJ/6K1kLgt1WT9mmj1i+n6tya3yy9gV14mNStuFOrmN9VxWShURrqRTTmg1M2Wen8B
qY0ZipORvScR2Bpv7JbRPWjlDy1p3urMp9jFaSCjQXrYq1MyndkaDssYhOt3szi4U1L9yERFktrT
kmvqK9WOX73ZeCTMn0PqtanYZEoz2huj1foPSjlsaI+Of8S1kOo+XnerTkzthyWyrfy5BMT5oLJG
vZVWDagv9/sTdXC/DwXyrkMW4FPxd78H05JgUozCv2LbtLxPvs8Ze9IFxaj5iy6xrhEk/008VOEr
Sz11BY4tw4xqbrqNi1MG/xGyOWnxzApLp71sWgnVqKJRvQPBtPDVatE3VBqujHI0av13AtLOiUdp
9Mo2+FRiMnj5vBGJ9iALkpu8EOzewu8xLe8g0ny+tzNSWH2C3bt8acu+ro/Jmtb2471L9iOS6yui
ya0d7Njwxe3NrLtwg1zzq9YK5KPVmEJcT6fvCIenbac22bmo+KJUhVG9gsuLF0nSeD9Gksz6WCBa
qYzm1BFJ/hLlVr5Up6q7+aAW16aC1Nb2+/zgEbzYlFreXomqq0sVwekqnaAy2P6IlqdCa116VnyT
B69Ld9jdZafPVtQQp7WVnT2lyecEV7GmDeZg3dKhdjqgCF2xkuFRHny44dAK5/bovQscxaYm8F8L
3wkPfUNRmZlM3mukj7BMcydc63PT631nycfL28lRzCN+lLnpnuSlFsaBnUq4jMBHeTNS63MSHocY
SRoJrlXzLYrAhkeR5dg8ANX2TZYmU2/Wx74YPW09lk71MPB0wtOscTV2hVFzVGPQFis5VHiFtpDz
DfknyMZSWwVphrE2C6Gz1rliHxvZVbYKK2jP/+5X9X60WPsxF6vyXs41Qr35nIZm9R/3kP2ya4jG
/kio6gVvlge5GSKLBYGjI4fu6Fn0NkzpZz84Rf3BLop65839/54v+0VdFM91wJbDxhmlw8ryIM/0
DNm4nlKroyQEy4dRmbZFNfFg+nvRaYFZPU59dZBdruN6F/mRrf19S4ZvV5WVUpNe6d/+x+WdHNBb
62fZaCHron+tJ+9LwS7BO1FYFF439jtBk/6DCLjAJBszP2duhth2ER9lIZTG+mPQkOqR/QYWhEu1
nni3qXb+LFjn1+w3At2ABpVFFLmZVJdkqvKR6MqX2hfW1QBzdIo8zAxkv+2ykGNrXhLQ8sQDJCF7
32MxhckH1eL3uo1Gc9JliqHDVgpdWW8oF1+v+JRT6CFrP8pYrddTD/5e9lFrrz9McYeVZSVmWyn9
AlnQeopTp1xZXl1t+Oe1ngiaq4fKBr0UlIr5JKf8fcGAnJOtMnbIoLqz50FvHibdia763EpqnolF
Fj/HszFm0zh7YU+E7fJ28E+Zk/mUGWWXwcJUBJ3DPk/T9iACG+/rsn0cZzmePOjzxiuxnHe/h+Ui
u+J5gxbOB5ug1hLFZ0KChhQeJuSYCioBrjt50Wl7wx8eP5syVmgmEClKaCSyVU86D1TXragB8zcs
gvwneUDS+WYMdkVZgec/TQlkShbvzkM9NzufFYtZKl/MpHXqZVCWa1ZX40XOLSLPW8ZTp3zeDboh
cWcHv1PSrMqToQv9afqOIa5dL5URhwLbjMSeqm/soICL7Mz4NUef80v1ZwSn1b4HIeBCJ7d/2FFj
rvQ4Y3sdJS1JDNM+qVrcXOvcrK8aEAXZleeC/fg8A9yFc5KDctrc5fqYzrtjuWWPh4SOcmAXvniB
O2qkRU9qDQueBQ3eIPos9JDDnzMrbZrAKRmYjN6vlJOsIPiR9HhFDITVbnVjXDPTHN8nla0+4SOx
lk3qBb6kPLzAaU2fs7SWmJrbIjuP2CjOB9Y0fBgnbL7ufXmQhzsypBVljK2pLNR0WghInPEQsyzt
m+iAK0B4kE15mAqMZdCHgCWA3Fd8TtRSJQzXcjxBg2Mv5am8sl2T3yy3bWNX+LOJ5hZUIfW3piN+
II3iRBffVNzU4VwZzRlqdL8PNF5Pfm8jLRTKF1IT4oce6/gqaVcYVOo+C7Iu2HTCIoUeke138zqk
ctVkQYUn/MXo1R74RG68wGE/ZqmlXqxcNV4GWsnckmM9FTdyDH+Gz7GyTrTPsf+8To5pswb67+tM
cIkg7hIsiJMS440hJ6M2+t0OlXm/4TVQPhWG1yyKWc5kwwA2iQnGWPh1WWR+69FF4QSf6RdlqotD
n+AbqaGH+VKxNisn41sHy285qMQyhIiSEzLT2SOCAQ24sq2xY6p7vjR1Exr7yGr5gFYOr8L53mnc
n4dAiV5DjbCJ3mvFVoO0eETElLDoNa19XGXWvknF77PBLra+0mM4UmSz8Geech+VZ/fLQrNUqSfz
4xPL9cVQGfZ74OjjpkySYTN4qf8+ALYMczP7ymuqfdC1DBc2Hs/P/DNdbB584Bwxx6jiSTz74G/A
R2Ct7Y2KeFbiZCBy3uRLOSrUhnpEogxG7vjgL/AF7DsjueHRIp6pkycQrJrT4X4n2CPquphvzHz8
cI36UPtJd8w8jNSgQyt4Ec7NxuGPPx+Ea+PHIk8/J86diRK/anySNvd58qya8ObW51L7sn7lsd/8
queYA5UNP1jyioXA+/i5nO2MrbArj80QqQcziuNlqQynpHYGHCGz8Qq4myURQgHZJQ8WfiJ62HRn
2SKCPVw/R+UFYc0KQYCiuN+j9nh8Q/fE1I7bykNkuuPBC+tX2cp4lJy0skckNJcCI1B3DmIuF27n
w70JnPotUluYS7KiWA6g64epas7Vw7ItD02CYV8XzyYV3ODPu/6jHeMaVemmS0G6lW1nxPlKcxT1
1dSRYditJjZwv7VXoVX4cHuDta8mLd2Nc3A90FEqhTlGHSkupy8hhA5QMpgphnaevsR5pe/ssG6W
Y6+mL8JKwqOdG9iyyWZIlZLuFS+yVSmod72qbpeTl1SHOjaqgzy7H5TIJUUi2zG5LPdzZhN01SFu
2xhwYqc92Er37HugVDOApC9REzf7eoAaKpuxbaWAx3NrUanZ8FKEI0IhEzCqHHUGxT2KIcUAzLb6
lz5yrUeQEt/zuZUT7jjF8fgqx9oqxTA9Ki/ywiTwjQtGZAc5lpqRda0cZS3HirJ00C9CGpjv4uW8
8dr8pxwazDB5wbOzCeJoxJltC1vUfJbz8rFbxFi4Psmf7fTmijS7i+luA6MBgsmL349wS0lVUi1Q
vEwh8cnCa05yzI2RAesx3kNykK95tsy8Ot7LUQXa7cpkRb2VzUIQJ8iHQV2bMS41dekecr+MHst/
H8ATCrXXjrJ76uqSCLU5/Z4Wa5q7B+Gw6oJIx3xzvlSNFeZM7TRtUx3ozGdTXijH5dVxh0eOH+LW
R0TG25d2r+5ZDhBz4pWNpMdKjaPRga1XSKavWt/ATk529lXtozuVkzD6WJnqRHCx16fH+2EaAjy/
YjPdu5a+0+aWHJT9yUj8mzpwr970kwkwdx7ONarYF/dJxM+jh6bu5gWN8kuUqNtI+aLU7bVkVQx2
epSHMEAYLj61j/Lodm32OZRV+S0anZnH8fcceQo8CwYY/9gFzgEgM3Ey1KOg3Fdm3LxGFW/3wbMC
4jE0a726TYkaX2QLxN5qMsT4xOqFrUZxTIIKVENdFStfJ0EeTYoxP7HMK8a843qMsmAVe3EYYwqN
UssQRbFOTD5zywxWECA88mafba32zmHmTsfM1M2rvI9b8gLPjcs036+Io/ZkjT6Sc36E7KLgatqP
SftLdn32TynMktBslvKXkH1YaVPWKyDQhkKDKez1mOjNu6hkCppzMFEtit/WI+6xzbmeD7JfAUER
aqrxKKeaVd/jOgzxT/bdp8mr/p4r+zN3rI6azue+AzH9xfcBGmiF+j5ETrsdOixhY2r7ZH/g29O7
W0/t1lIroD9mhcePsEIwUjF8yqoyN10mxG2EXH7DbCB0W/Mqe1ih6FvinArugh6mUnEOo1NxrWan
BI64mYj4Lhr7/89RBEEUH0Wht5QXh1nyUyAlxgZzTF67odoNeaZfjS5NKCy0KVzhQaFlkfsSfpWd
TeR2T7VwSL5wQT4Qrijs9iDHbNb7Zw9vCDkWEK591PUGLlsb6TdXWK/BVP/Q/UI8x1VgP5X2ulFa
6FTc7kXxfOXRnMfsFGa2mxTtVk4VrjFtgJVg+jmPZniSH/++jz428j4x3laXPqJ0uNH0szHvjKp5
t1TmxpMW98ajbAVqSywI7PoDaGvzyYv8+jTPl4PFPF9tcD/493zit/2DHPSNqT45o3l2cKrjnejH
i8kd3L1dWsmi7EvzxkvKvIErANE0esWurUPrlmt6cB7LaCsH5bRQG0xcGQjH36+y+qeCYrWrvEYv
jW4z4QS3vF80aPXN9fX4UV7jA9zbu/MPNuef+ccPls0gjo84177YttDOtVVjUZaE/iu4lF9ebUw/
Q+O5UIyUymsqj7GqmT7aCJLZMBmIj3jNrKvamg5J4RNYU9gEFSgkrxG2tcveca1Xv8y2QS7APwzZ
UzMf6qCn5gSHw00Ot/0JQ4vmpEfWUbbkDKdqoK172PjJqzyB41Y9et8c07EwGnUKtsxJ1aHUcvod
1cDlQsdF8iTcQd9ljjijiMBHspbHyPeCR039kDM+uyi9TE6yXZFlQhmnHrS5S/bbE5uTPMY4WC06
cS4M+GhxmlQfU2PUq0rVxn3TGP5bXz+7mV5+TAD9t71oO0hcSUUMMqUoJpkaHqEK1iVeWd7AcpY3
8L3qIpzCcif7DFhnN4ol484NbpTzFTefICzqjkIs5JicVQJ6oDCjerR6YZyN+WDlllj2VhuvZV+j
JcYZmIRxdkLnysZF39+7KqMzT5F21RvWBQt5eYlUnC98tuQbTUnNj8lOoJzPB8XFVXUhTwtRcVqY
AZBfdkfL+6Rm6H5PJ99rsQL9qwmuezeQmcXSL/7Oc+PnAKyHuOc0w0jDiG9wIZ4o+AXbjIXh19x2
NlgfKb8s4a2VQMXewraNRdZm1tMYJt7DpDj2MTYabR/BU5pl1cEV5MIenBw6LWtlDI3zAdnSXQOH
Hzba3FRI3kFJst5cw3d2MeS9hyIhyV7g2r1IJ9/YWqlivHlB/kKJoXXRhzx+nsiuyu4mCeODEmJ3
KpuB4XurTGTm/3qRUSbg2aYa9RbB6VILv9mhpa/KtjX4NozBOchn/J9RvrOv/DBVVDUCc4BbVflH
2V1r1CWMNUT0Dpj+e44d36IcepsEM9hTMjGfVw+6ThjRybpL6mb7gWTMB6EYCB7ohNZpOQYfxhhe
/B5NnsJj9EwYH0P5uR/aDc58gz4HN4Pwo5rWuJiV7yGMfhYaEz5JBSx6qEfaA3rLo+oTQBHsGB+F
pkdLoIHdR90TAhqFET+inE2eeb0cZJq7jkKxntzW2sjkOPVty54sz2uL6v0wljXOtXMy3aD6h7q3
Oj+bkDyu42i9y9tWRQJkXw+QMs0/pXtwO7/6aFJ4VI7dxpBH6RWTz/+jnthn0/BEnXAzmG86lQqu
f6gDds34zRIqbE/NGJ/iJDS2JbnJYhPqbrjNqXkCb0seIelab6O2oUlZQyvaUysoYRji/kBwVcMn
4bOviB7bADzh3LJMIdash5OdYo/KoS4LOFp95j1H1aicLS89ylZimNPzzDyZh1zRd4eiyNo5bEE1
ESV6x6ImTx911C/6mqny6SrCd/wZv5fCUn74sAhJVkAXbVnouH09foczgmlQ1FuvsGOiWWBUIc0d
xEMfDfXTpAwjKK0K5MTcFFQmXzw1hD2rtYS3DdSauLCwyzF8/1TqLqo1pFU8yG/R0NPoswqgNZAD
OaaEINtDs6JIk8GwSZiRaD8gcSbHhJKCNT+XpFZi4GMl2F9MVWaey07VPkVg+lD9ytUxgx9AUs1h
gbuS4jBNDOucTf+bVjfl1jAtNG+DYX/UBSHXpvnKt3h4gIwePPBo/aX74UhdTJWCcIF3tGqMkSdw
ErEIGpy9PFC+gSBTnjKR02K0nT3G8P85/o+p9+uNthO/r5ed8vLP4bolXlDl+tXFonIxlHhtOCqy
EEctZjCBW8GWQKgdniNPCb/qQa4vKmF6z7j0mWw8E/VMeFzbeFTMQmCrm4MSN7BiVTvd15nlX0FO
iU3ohayYh9a/yj4czLFmnbC3ELlKYDgVfA5T+Dt5OVWbDsnz+1jbX10IS5eaEoanPDM24KIrdqvd
BNndRonMcw8vnoEgESqG7ujrTe8+gg7FeSDsVxYmMwRpK//WIpLYqqGOYQSJlFvY8x0qWTe9GImG
hREkWnJrfv02lcOw0G2A8dbcVDwF7nURvYD8QWIqnJvsbvPB2yVlFq581gpvvOPxO/ENsZWjMJF/
UZbrneSg7JLNtugPJhX/L8PQT9vZtvTB7Dvtg4jYYyd860nPteDRCZvnZHCdRaGKeBY58MPxl1p3
Bd4T+txEY1dvaz/H8GNuUpig7BWfTDiAq+gFz43gpIXE9RXrIy/CN9UareemyfU1WrHioeEf4Nnw
ZyWtA3ZbNIr17JKcOJll/JL28MN1MKFrpTaOneV0T2JWeOYAahD4xslhnDWg0KSC3ZSqGK3Mo3Ie
qNZlzQLwKlv9qMODyJBcupV3RSRc7tHZ2ZcQKQCf22b4rnUV24s8++KbcfjA2p7lje6qp67E01fO
KKHKKUX8vSVqtWxc8vH+hKrDqR19NXlgm5rOWfTKdLKr6IifRv7uxFqIWizp9pbhZ++96S57XkMv
nWNjOleG5BD4h3gXMMofWInqG6Me60UYEB8B+hUsJg2JSyFCbCL4mEc6ZW6OacDvRdm5H0peM3z/
rWc9gGdrVGV5NdMw3mYGyG+v134f1LS6WTA5dvf+FuVlag7tbsx7fJX5jH0oU3Hu0Dj/8rMEBx41
/Z5HRPTsGrETVZfJWnTsE9VB7Q/2xA9W9cy+tSXGDjrglm9Oqa9j3Rp/GYG/H4nGfGl0vIfVMfCO
loX5uZJgVKpSXv0aGRi2gubBcmBu1iGGZWhWyNLNTT2ByBFmPkZaUVy/krgtVo7muNtxHrV1Aka2
WRHcmUdZDFG33PKXUAhOvE5oXouqTK7yTmVHDULR9M/IdMbn0QDpPF+DpSLE2pkv2w3DVwRd3S/f
3Zlq2/wkGYxdYqKVLzblNA/NaOaPmUZw3wqzfDMS572qyCWXOJIXXxMXc2LP/v+cndeS3Lqypp+I
EfTmtrzpcm3VumHItEiC3punn48oLfXamj0TJ84Ng0iAKNNdJJD5m+ZXWlr7nkTLVxEGWGVF1XSL
9QhSt4IjS4b52slU4xyBj1Z/MeZSrQtZ9cNul6z/ml/cAn6mdqy+NkniACbwcv7j4MSj5e1jeMaK
yPJAAOvC2Vhou88w/u6gZM+ARrVoXzpNdUStpianNTqCEgluIUd5kF2fTVuPAFW56Jb965osgVWh
lZ6y4/GRn6v5UIM5WWEmgnku6ekz+SUgbLJbq/Gb+uyJ2NOxYmeM7IXV8uKxk2iGfe7yLL4frBzB
ebdvNmWfgFedO/rSB5iR1fo7gln+vpXNSggXFUIAq/MQ1ZpM5DH9juKLFh2piFd4ZMynY6DNp1NW
b3O/w5Vj7sG/Izp2nV+GG3n6r/GhexlJsNw8s95EZEfeJtXITtQUgZTNzagJ6p1hcHPQ/C54U1v8
lUiaTDvZy5O6XEx5259kL0V1lLsU9ckay/JpnnJoNOVVThm1aFHLppyyp/q1ks2A5c19StlEHWJr
maWz4zeoHuqGbFUAHQuRMhVp6T8xedY7/nSw+mpI7z0y+NeY/xZjwbKrveZEhcdETOClKVII4Ubn
XtvAwSEIQldi5wi2/4mbw6Av0gTMhBzB/ta9JjMqsSETS4Xqn0v1iq9Gxxd8IccNB9OgKMv9Od6i
N+6eqvlMc8XvMxljq/S7969x/60XUIJ7ny9PgpOPmmsc686hGeATokQEQ9b1TNNcylPTnFh1yNP7
ADmWYp6+CN2uvl8qY5W8Xp7+6yLKJc6h0KxmNYZOClFAqXZRB1A3TTB/mtIggLOhsaysgOmUmUfx
8U/HiF/ZGfr8Ug77jHsxGrPcL4Dbk6p2F7K7MfUTqOL++DlOEXp0qKPxy2BZzr7xPXXj1OpwwGBn
OHSWia+ybE9ugmenmvvm+rPfLDL65VAZvI+/t3Uz0MEFAgJF9Wkh1EvmZtO3ILertZpkzSGMov5J
15ovMu7jqGiN41DrUPNZ5iV6ENzSWlOuGc7ha/7Zm1VV2wrLjtCod5Qe0UUPBkRnp7Kxj6As76Pl
JSwuvUtcPMsGtT+u6i1l41HiOsmYPBgJ2GIgvNxVVHx4Oreek6czS3bR15lJkif2+GVlyqHrY6ip
wfjiG2lzK1S9vCVF/GoWxfgFzQTUCTdlWKgvzUvlO91L7XcG5zpy3i8S6/z73DYQnkyD6QJN210K
O9c3vVHo7K8QigKy9FEZCObrUTI8RxUIzVBl9xQJf3hmqRvsWlbgK9mr1Hlyqifvu+xMSkNjiXQE
l5C0y2iqNpoRXIyxA9Folt5JHtKWIvfC8kd8vBVPYO01tz/75ZlTtjvVTPRD28Zqu20UrL+KjOyq
J4ruaHXkKha+r7RYDdF25oM8+yvmJjpUejKTLMQMJER0E7yPiwMXroDBBfny3wfLQS54EBP+Jv/Z
AWEAnavSVRefHeT3ggsa7OLE/8vyr7ic0w/zpxGtjr1sDbbeP1Q+ieSZGyQ5PpPW53vLzOFq/UP7
kXGLTRpUtDl4JxIxZm8w7jN0P3NhD31OJ2Nyzj9jZeiv2fUwwNSurHfmMMUKbGbEOiy/xeUvFQVM
hHakTNfn+b5z4/mUtjzLUEpdGEn0oIcFdx/HN85IeJlnHDUDNITGldYpxdkefYSItSjTVkIRGaD7
uddk/dB33qKe+EcBq8ynq8bobdT5N8rMLl3LZuZb+CoJEGnghsWboQnk6oE2yc7YeuRX4rwwxr9S
YLyWmhK9gWX0DnaHnKEcFAxlxe2q1EE3MD8/62QJHrI+ysFD6J8qytE3F+u1F9iiINqYo06tClla
O7q/Kd1kL6d8vUMfiuy9jO34KiENrFHqGxEYPMn1E+kABv2vSK69C2xDroCF6zte4v89z/11auvL
5xz9AFkMuvKhzUYwBSSaw2Ol+qO9BEAPNGw+wGxsVtmUcJ/Iiha6otKKhxTC6oM8a2RwmrBOi3Ws
Hu6DZH9U683v8fdR8oI4paKO1BnQ3L8mkd33i4QTxg/tIWdHdIy9tt52rYdPpqocQ3PAakyeRn0W
wLAiOPKD5KYBqQG0n9OBsYPoyP9B5JMNEb5yjMiOLHI8xLyfjeuL1ZxGxCJnLjrKSuR/L0rKLgAB
5VGOxJJx0/QV1q4e9mAlBNVSn9GkFfvzuwzbvf2nu1YxSDj/aQ4ROtULqc2moX9Ur5J4WPalFR8H
TTTB9lPJrTHG+wsIiyrL+U/zPgMKRgNyOWkPqXPqb9q7bVnGTR5w7WhPAtupMQm5e3Vhrewjp0r5
27XGLasT8xaXAYwRxVdns4ffMY97MFaHDoXXeSrZkeObvRh1KoyfMVW1v3jx1BzlTDLOfXVVgx+H
RsSVhpaLq+LgQTjPLUOVa2aUZ9tHeY1wINx2jb6P2GNB3i+GB6PhftX5XscKtRSLDMGOlhfuBUe1
sih2zQNGP1gphRgOwXxhIQfJUz+g8KgJt15/LsSqeRX32fwfLNj+/0PquG5wgEX6fujY+EzgG4I2
qC4+cGbUhueD3V+D0RoOLY95C2AasTJ3XsnAmnvZcuKqumSGVl4cr/w5WCWo6j8hOWLUcUhsUfTF
1RMp4rgrlBMqqxHOj934lkzQKYfWbx6HPrXXSaH4J6/ptJ2Jk9RBR8D5oXanYGvkTXVVTKtfiTRK
XzCnY9PcWe5r0g7dUWlV8FEUSFxgmhyCdMClrzxqWeQ96H5AZ9uZvzvlCF0fxYOphwuVjbGaWOKa
z4VFEQnnjGfZWrbkQeEucEiM5mc3BrEAhooHR+GVNYwF317VdmIe6gCyeRCFytYcJ/e5wyR0IzL9
2FhgCilpX73o7FhWjPwjh5in8a1Bujd1HVy559Y9HngH9oLKAwWIaeba1V99O7IOcoSaJMnNRXx5
Qena2plOoAZLCBpAEuoq3H7OrqYIgfYZhfPPWF4nynoyknQlp5ETtmU7YhuPJ4ocZ83vbMApdF+E
Yb64vwVPNVgb2NozPiljsLRRpjiFTbf9fM+tbeABRPr0Pz9dP4wIyKSA5ue3LYejw37/dJ+hP5/w
8x0I06UkIgJ7d3/JjO0GQBWWD5+vKRwHBZ6MCtznq3aR4q+hwv3+hHLCKsp+f8L7txWFLlK/86e7
z61bAesdPp0cLeeXn7BGOO3zTfbzJ0yb+9/v/rX0BSTwePj96eTVqmMdlMAFFTV/EfLqPM2+Cr2y
Dp/TO5QRMT1SxAoYXvkE7mjmu6rFqcDO+pFS2VOtO9475Bs09jLMlDPNL99yPLILW0nPue6Za2/C
SqBx8gs3Jusp08nIhZPPXSaKqXompv6gaMY32SkPJWAMw/LG+/iqgzTfkADdyHpoL8L2wS3in5/j
PY38Ic98FpyuumoNhbVeOcu0p8OwqoWrPYZBrj+ifPXgDo1yEnNrLB38rQVfreyUw2wfyXpW2yE6
mAzxmxA5ChfJ43kOedCbYlinnYOd15+YH9cbz3bqy/1VRlGT8/f1hXwZOawxI1xB7CI9yOagjfUZ
cPO9Ja8aGuSMSrtEjvTP+w31HvSB5l5lSCD4sENMIsd5lvcmY2iG/8rVpD7KVtKI8OTo9b1PhtB2
Jw86xCHVvn8uMt7joGvvXwlg/2KrihQYv/F18E6Gn2XnWtEgsI5BdJFnVpJCneqrYiebjpWg5F7q
IBAisxGrv0Z7sTrsK9iOnxPIEfLAK2Bi9fsVPsN2XAjI+P+8wmdHUra/XyWHhIJ+POshtUMjWQ3T
NVBmUtssOja6pcxOckG8ZzmPmPXkDUeqzi7l9qo8ex5WCYMaNjcDdMGKeo79rIRusOyMbPhi1T3W
5IMxfhd5c6rczv/lYXqnZeHAmrCjqszSLFgkrs76RA1/OKb20TiB8iVMPReFMHzsdXg9qxR91RvU
JbamhqGeebva1g475+gonbv3MrfaDwr/uUbuSBsWVl6a/4Mf1/gAVKtocWifjxpL/sbo0r3sGQxv
Zhxl1JIXepeOD/eoY3iLgQfBGkRFxp+g4a+cLaO6Id+vaMmm1VieLMtsLmdrtyyuzccS/aFtVBf7
qNIicqZecFE98CDgixUEKLtkGetpc5pqW30Uav0i424QGysxVc2Bu7sGp9JYZYWjvINn1Tae7tsU
krl86E+53iK625vhnp+GtpZhdojHvhzUZ3GzptCFBmYnuFV5HjzLDctEkpBUfJMjvlfJsa6LBo7y
fDrpqFa4lnbotQBX2jBcRW5XrKcxS188m/JZO2CO4Dp28lIo2CrYOfgO2exaKFciV3/J1oQhKQrp
3kleieaL9YhK+hJtZJ7F88HNdiBLmmfZ6ONii3J7c5PXpmJ6MYNIPcsWnwQlYj8UD3Jo0gMCbEnV
70kfKM8p+889P4VCXZhFHZGr52AMWrTE+tjARz76HZtS+FwoXNcAhS3SfnKgGPR/uueB+MkVB3/M
wRv/iRfWnGjoZmviaXqNcVsBVl0mb50y6sj/8+SXTaMg52kIMzgEgLTeWAO8qlYprtDVp9fWWslB
WuYlF6Po+D9mBhcr1X1qa6wE5ksS16Kcr/igBObeUePm2DuTe5K9E/VvcEjBywi66mYZzblqkvTN
1NzoODVRRTqei/Juyjc2GIuNvMgqVAWUb8TmAYeVI+r9/iaYGZPyIKQvjxfhw4P19O+gAZaQ7ChS
MHg2V0+CtNYYt/qtjY0KteUoXud8wxvZ2Y+uf6HOeG/JUNX2wTJLRn5C8+UeJe2j1lhUvIaCAiRC
qC9KGwi2CcxEItjbC8gFIJh/aVb9HWUHYD/RTBM3neIam6W1tf1p5swNyB4qPLK91q6fGt30Fkh7
F99qB/qUNpfRtRazKKBLP2y/LBZxmqsvRWhTajF1nUS26e16FKL2njLNeJIiWqMlm7/UCVsz/in7
H+TXVveZyizeF31nfotNmAo2xPCntiHr1SRRejLUnMpdPAS7SHX8S+gY+crV4vQtspWfqeNYH8lw
u8+D6dVNwWrlvbX6BvBVp9w8VB9W/jTh0jQkLxO2Vs8RfhDPXY0TVOxkjzIkanNawNoAWT13lm1a
bnLS6WvZy70xfujMHojo3Fugp/zcHD/noh43Z7Xi5kH2O16arluHfzLlPfPa7nns0lWJgPMbXloa
8IvIWMimUVjOxg7bEunupn5jJ4aVUzxAn5gHG6m/ofDRPWl+Wj1CrbqHBzsNj1k+o6PnUUnObw76
yLAd1dY69kqD16Kl9KdZn2Kl1mG/NO1pOMmYPABFGE7JfJhEY6+wdGLIfEWPdC+euXOPbOsqEq2f
3TIme5GDAz2F0apaJ2LZ9pN/ru3AOTU57tWjMbnfSMEdgsGfXosJA4fcr8stnMzoS2BOeEsk7jcF
QvMq0yfzIeo0cc0o30Dr1Z1vmRjfNMwnAiobi9DPenCNfXT9PDiNf6pZ6BwhM5buIna9eD8pdriQ
Q5LI+T04iFBdNtXsFNtQmxY2qbpFaTU1v3/ZZnexKVO+nsjKxmuNoNlh6oHySHYAxoE/qgllJckc
aGgB6QlRc4JVMHrRD9Vuo7NkB8x9zTzyf3GdnMW0hr2rVdFFnaAKKDWFeN+KvcfQ6r1HtwY+4to3
GRlVkj7I5DQr2SdjtttsBg8fTtlKrDje1T3KZSEmcNnS9usrMr3DScyT5b7ubiZcpCLdsh9DPFaQ
0EzZmBiNjcHk5N4SB5gLfTJS25ay9uGzr5K8RrVRxGJtQAA5aaCy3aoSSyHi6lXLs99nMgbNqn0a
h2IJhiL66vW/DDuvvjiFne0dCG5rGfaD6Og5rUmxl7sV1jFIGaR99FVM6g8o+90tjNv8PBqjs5Dj
68xAKiJ3+rNnqOnN180PGbe8wmcdUNrI1vA789xyNnGOvnJvbdDOTNu9sNLgizApzs9xpVeSbYIE
21Y2eXfWn3fX9+6wzud3gcLMsWyd3++uYym17HV/UyOlIso+/ygd7UJGNsdLExdOOx7Uk9945bHM
EXvs+yh+mTogCuRp8g/Y4Mu4GcxLa+jpqjUNH6nLABOQ+ezzkLbKuLVx5vXs9t9xOdZUzdfAdMOX
rjOPWmLrX/yhRIcsi8NTqbXQ41U/X+up77wNenLxI1f7KYz8EVRc+mYEfKy+ypWjMKb+hDoFzFEz
rN/Byu8D1t4/Nb/4ijWX+YLpa7ZxC5LvRtSo5z6Yolk00/8aK8FaDkUOCUcnr6ifc9jfmw473YMK
lf2CetSw1LWRH/FodoiPjz6otsl09obwdmwwYikW9DZh4LnopzH5ahXR9yKt/e9kEs45Ah0fpT6t
VW774cLrToie5GLR2sjfwBhZQP3YmHlafXihesVMrf1udNHH1IXWTrG9fqPiPPKEXXObF0/IReRP
XVWyAR19bSNj3WRWF4hjuyzv8/sI5AqDpZeYpDFwmBvz6DHMhHcpIgsU83wGE79etUkerRsXOZF1
iOIYfwHvWOkUpXm8sm+0yvjx3tv48JKE20Tr2EG8iHJ3yzz/XHKP8a3eL5Hzh1qurcUQNZvE7ZSF
UBLl4ru9jocsQLk4yKtvnXgFf+x8T6rWXyI2rp34g9knE6HlZTV3tOOPFB7yN2H3Yh1U7APsEYhK
ofbIq8XC+T6ZBYyMNvxS9HG3iVyh7pXCUh9dEWIZNY8YOvvZgIP5EmVmsEMf1AW8Z1cvbao9yQFI
EqULRP2AnNV1tdWVSOcroF4EFBN4Xf3FAZO9U5K02FQYwThtHL6i+K/vE9Pr1+6gWl/tsV1FTja+
+dVg7lwsyTcyXqnfmyFK3lvs3LYt8KOt5kX21yRNra+GS0ZhSFRnW7Z98j4m32VfDMd5w7ba2GHZ
Mr2NRr2Scc1ioyrqFGdghDFfSSjv5EuQ33FWkRJtDTtRlpUVYnXGXuIoz4q5+RmTHWZY/V9DetMz
4VO05uqvaweQ9gd07HG0ROJPHioBTrmMCuNfsSzt8wtvQmypFOBF9GdwMnfgT+Cis239/CuuN1Bu
w6A5/RX3gzw7tSD+u9gelzWs5WXf92+ZVVe3cmYuumj4HP+EYL3XN8xp7iGqbBVJJFixCtva0By1
VYGj3i3ILWPdmAOCJ53nbQrDLE4eO70drNjhqDb8PSmL+/vA9opjmofdrkbl82T5KOo0cUEFQ8HF
L0YL+RqKGk0AvwqeUq1DIVawGBW6egYGkF8q21A3ttb5iyyzfDbW9+9CHXdoJLAzte3sImPyzE88
6wAz6CxbhofB/QKoU3mqKUhFSZ9d7jFRpVgIpmqCKfWoPkEGDw7NVAFg9c2xZK8XLgFA9zfZayVN
uXIi7EFl04jd/gH39e95lapPtVm1Z8QWH5LAV14bXURUdK14J5umqfWLrBD+vTfqp63pxf4j1dPg
udHblRzlTqxfKpN1vApbEeAXWjOjNVEn7H3xEFZm8xqZ1TIeDeSYHTKFk9m1a9lsm/gn3Pjx6qZd
fMvYe1pNAkjUM411YZcNupdclOJWlVMx2ak5/q6ObdWPlUsW2EyiUztrisSNFZ06Hv6yTx6CvqnW
rR5Wa9vWpgQgdHs1LVvdBiBI9lnkpxd50MwyXqmljaGdkWf3WNRMKWylIMQF1AbOOA+WMXkGg7Pa
qS0Fzs+Yr4T+CrUXbQHysJjWXTJQG5k1eFKvTQ8CUtM2oX3lOuTsurblBuW9eLrh/4qSAw8M90OU
/i+9HdTXtFImYEl1eGny2t2hCB+htWib516Dv1sYRfmqiSKivlF2H2B5LcPwfhmVeBbPWaWaPKFG
+35oUgeFui69lXGOpel/xru5868YuQ0cV9pFYoW/Siuo9bMHnhlKhjqtTYAFp3wyNLCR4gOB8xFV
l3E8yrPPg2Np6VaLW1jUpo/yAoeQdQisx/lUGNVzp1Mh/jR6k3FdgacvY/fBf8bJ3s/BQ6WV60Q1
/Z0CG22L2eoI2siO3nRNUdAOVK29qIPoLYzTb5Ht1Rce3NGbOVfBk/o18J2B1HD6JC+Zylo/UDLs
l3JQwg4W5BdsD7KwPFNGHhtTD7PIGhzjxRamtkrjsb4kmp7sNLVMwS8Y9kMpkmQTYrv+6EASW/bQ
Sd77yXkkyT4D+Vl+UbRa+DDZI59lSGga1RK6Y/No1jxB0lJTHzS0ag+ZqwS7qVSnS4F592rEyPS1
79klF1+456QPplVQAhB1vyDBpcYr4K3JQzDTpLwWKuRCtuUBSJ4A4dBOeDTG//TIOeRwOeZ+jWzr
Coqtffc+1mZ6C2fpa23o84chKy8yJOYQCATrJPpmK0Py0Jt6eyFXsJDXfMblmT5rYt9jjLgP/TM/
0mDb+4RqSp4ujeuLG2b5gxyvTpGy8a2pBohleFuLxNZxKkV5aPLeIwXfhie3NvB2Bwp+RRffXbFx
GZ/y0WooGBvl/MwtMGcygpXbwjszY1M7otiCiEE6q4VoVRNvZFBomVveT90AhWafbNp4VEcdCJrG
fjoP2vqp6xOQ4KZPsjpV063a9ggjDoW5H9Oq3GdzZlKgyLiZvCq5FopMZevBs6nm6dJW6/ILPsIh
OqGkFjuESWFzZiyVx60/b6IWAAvXXV8iNebnztZxx4U1Az66UokObMDxe5ubTtj6C/gSyoNI0u71
z7DWAV3oDjBm8tD4PcyvbR/TMoZ5zCbjcjZ7Hgau5d/DWIXY4ASm5CFummqrJC7F/XjUnyIb3/uQ
O7jdhFa59HVIAR2KBIfKS/Qnx85wgw8smPzzYBdzm6cMas881CzSfKmBddvJoZraJIdWAa4tm6bT
YHjplfqudygJIRukPqUhypqWZ8WvRcCup510+0sjWAzz59e+xRNSEmGj/VSyjjVXgtA2uYqFS5pL
LIJqyzYD01XwNOs6TsubotTmsm6hmleiQ6OpTUkdUgT4Bon8lIcteQvh7oIqd39Rn3vxB1G+F6lV
LB2lNB8NUHKbBh3Vky1iY9+OqbHDgqE7yxmR+skQ5fJRze6G8FuVszrl2TXnju8zlinonXlGs/OK
5TiLFJrAovZyj/PfdkF/xaiIlYcwJbU9WbsQkqLIzSHDYWdM1yn6Q6h0K0aR3qKmyF/KtnzJe0M/
j36XvfAuc8CNFhmZuXNScqTuXKM6yF6nrQX6nVa3k71UPUrUnXwbf06uJQ1rbWpy3UPdnsHQlODf
jeTdjdQHa3ZdsR22J4HvfclMe5YbjdqzJ2qAmZ3msz1vIITFZbeoDaf5mDZ+oBQfVZIMAESQxFKL
/h1qh/fgK9XvQ9PW4zrJE2PxV8dfTbuq2W1BjpTxKcrRDvGwEEwn03sIG9LQiK+zaRUWO/wyGn6y
IkOQeeh/oXz4iqF4+MVL0QmGV9RfRDJYuxpeDlwXt7ikFIRXyGzbW9scvSWPN772+dBCMDjamouO
3GBgLy6DOa6oGEuPMZVpy+f5NUWLyAzMh76u/Wc/6Ocfit5gzEgz7bxqXbUWlhfzYFwC7O1kmMht
zM2w9dBxxgz5PpVTeO05VNoXeenErvgRwaOlMw+1m7ZfsvSJNgn7CXiRwRSvioSNZ24og/HWptx+
6hX7hiFcAEkecH6IEB2wVkU89h9qoT1lVBm/+Z1dL3TH9l5xMBuXeO6mT2qrRmuEp49e6qATGI5o
toop3w8gcVA+0ZR82VTdgaWGC56dXs0xk61iuckqj/3sKZ0PI5UFKg03GVH94MFzpr1K1ykMbe+k
a7k14dsNfVq1/XQFRKhXV7K/GskI5x16xXXrnwR5+WVpDu4iC9Xn2IF9ZSPJsB0pP21sP6uWUllI
CgeJmQDb5MVsHQ+sVZ1q/FUS/dUx+XhurF9kSyWFDvL6GU/V+qqhOXyo8qxaBZljvY9d/tNJrfRW
eLVyRh6aorfV8zvC52HORt6oJtff07D9afGdvfNwafG+BBYgjDZaoth8xW2+P+eQmNaR64Ik9hws
M7W+3lcBdGsfvckRtyAMhtTpgV/LV23iBokPCI53TRdsbA+EJXpv0U+PP4xRKdou1oSyIwH4fawQ
Nk9NBMhL9NB/c1lQiMz0wnnDR9TfYnWSbe2yaG+hXZwSf9SxITPY+lfpD7VB2YWkc3h1RHnrlVDs
hyGyj4h4owg5H6zkEhTf8jJsgkXQwxfNo+5Xr29UQ90OUel9CXO/XzeGWh1dNhCXgLe4FC2LLAMF
hw2u2+almtpg2ZOLhC1UCpSivTBeNG3sQPtUL4bWTt+02WIV8ZRs4TtFwX/UuMlV9y1Ea/e760ag
mHsIZzxQxNauUEbxVat/82zgWpUZdj8Ca9xWQUnhrjWeu8z0YOkpt8DOdo2J2MLoIDoyxvqyaTCZ
7tPQ3cZokh/zoR52tqsc/CnP1troHaek7hYqSQ8SMe2w6SLD3uR++yV0sgaHdzda1NkYfUeX6epa
pfNR8ONByhkPWGTQN57SNAekXw8e/OYzA2YzcxgK52wElx4DAxmCUNzkAYEy7ajEqNLPoVhRkBVL
XWtNbUc79c6ondS++DK4xbW0M7LxefUMfTy5IOysvuSKhoCX5px1UdSn0aquvQDKU6RCHCPvQ6ht
9qAiOuGJYdwHDgoowPtz80E5+y1MxdBO33tQGVuw6UgzzU1ltC9zZuvR1rv+3NoNxHUFUJupiGhV
qW141L32pDWti2b9jDicgYmhxxlLhJ9xEYKRGpEvkHF5gIwFnl4OkW0vrL+y6M9Q0R5fBtyULmUi
Xhotr88kWvklTT0Vvr7uXlU3EwtIFum2irqfLpWQGzbBxmkYHKiNZhgtWW3kD5zdZCei8f0NXwTg
ylP8nbQ+I3rNGvdeFBeLezvSnWEx1noCqC7r1sXglq+lIdo1NpjFVjZtw+bx42noywYT/DevGJd9
Aw2ULJuRHe+nDrvWo2/C9FvOoIpjHJiPlIKVZdhjuxh6h6wer+UorIubgmrtm7XpGT/Z15ULVTTf
e9PqrlOTUnbKkfmsovep4ncoFH05tqL+1ZtPveug8hOH3kNJmWmBClW3GmLIM63AijxSWn+HNR4J
J37O1xQlz2s2n1GGvqZ6UkLiJCQ7uxyiVN9zr5RNVTfTs6JV32NQPTlOZ89VrHY8g5CFkk0nCqbT
6JIs4zn3DOazf0zbfAkNwn4ucjVdRMAEKJwP/3aTm+ZmEhs8dUP7238zk5MjZIfH42FvjLz6H886
B6XsMUp+lX7hHoYS7Ue3xd8G1k26i0wYVvAzYSZXaJOx5R43RmGUl8mtHMiWaksOJ7h6TZnvcpbq
x8ylLhfy89/xDKE4lyOlgODhdEGUOV/7UaQ+tlPs4DLUq89FcqsqFqCzXe+t64TYdSaO8CLwmssY
zcUXL6nedT87qSW/9DgZcFsHzkSWy1jaDpbrRmuZu9af1B1YaZzMcz1Za5ZT7jWb2QB3z4+MvqQy
zboUwvJaVyv7wy3SJ23EJqjOVRXbGmXdW6L4xS7vHHIvfA863mEfxjkSTVG7q8bm7PJT2sa6228H
yx2vquMGKzSg9TeVAqVup+JXZp+oZAEd58d8tYfGeXdCdE7LTqsfKTC1mzJpcrAuFdho0lisuepr
XpvtMqud+HuZD8swr5IPNawwQcii5MUGGrjpkD45TpOBSosFljf0eo2a/njSG9N9dj1P45a9IctV
fotCC3qnq5YH3+wd8IT9hxbE3ChdByi+VdsA4VtxRIpYrMncjOfUs4tFZ1nfhVYEz1ARx52GcOoW
0VPvhT06UpFZ8AMZCwCEWTo+jqnZQ/up1E2Vde0buqgHOSKyGxDjJfk5va/zbTvUO9UJkj2aEPZe
o/7wwN8ypvTX2BekJ7xVhJD/uh1Iuo96ND5kpH0XQ+T5z5Zpkg6qhsOMPekNFILLAbTg0CSnCKAe
jJqqWVcWNtUB3+XKxvFzz8NFeW3FFC7czqX8PffWrYvjjGU+qypKoxQeWBQ1PEgrIBWG2fX7tiV7
Pbla9u4lzkcP0vRaesK85kb4E7P2DAK0tyjAUS/h8aGw4Kn2HhOpcTt0cfYY6HPmOm/rHzbiWWnU
ah/scj5KNXJeSqSf1poWv7tjVayoe3rXdD6AWUZJldrRzrcVXUHfo9ZWUwVmKfQr7yoHep4NNF9Q
xP6MFcpgk/3lxjLPIocl5JWu7n3u+2SJjblOexm6nmSzEoRrNy+ykxLUGBBMCcJPnZE8gLr46gCY
PEWGtc7D+gkJ6mipT/rDVHtHMyWP63iudiowdV9OY6itrKYZdl5S63t8SMZLMR+iXTaScgFlEO2K
wItWpt3qb/aInn41DP+HtfNakhtX1vUTMYLe3Ja3Xe3k5oYhzdLQe8+n3x9QktjTZ7TXWrGPLhBA
ZgKkqqtIIM3//0Ux3BwOnNiBtfpQ429fNa1XbAcAknhcpsF8IoKwDk3FgiiqNA7qRBJbWtkavprA
OfiJkq/5yvN71dLPoacDA+NCAmOo5XSZKVZdZwbh6Ng2xs1gJXjo1cmhpK7r+lXSdi+ABWUHKVsa
qsJ+mjSuPmwHZzBW7EauJqGCT24z4IZxzOijQKPc9JllPCZe6O1CirP9zNoTkZovFBjlh8CC8WbQ
KxB/ovY61Eb2AqIC+2pY9si9MsejlGkZqS+gy5IOqriPHAWc75qOG2oWdGTuc2CwS4Zt4quqKNMp
NIv5RD42n45PBCOiqP/SkXvERjD5rDSEHQaKcLc9AMyHrBrdJxVCU9XRew49MM1T94qvNOKME0bd
Og2y6ELOcH6MZhwWLmkem8qZ9Y0Rej7gLsNzgDfcs2xC+HOs2NeWDEWferUnpQiKJ/bSotoZ2ojZ
ZtcUkL37wYYIAHLDkE1e2tYfYPnCiZ6Yr3x/bHJ01iC8549uJ5iUuw8OxciPeD6ze1MRl95UIIRt
J2ElFXHV+A9t+accQO2qbgmYJhvHqedHEKa8laG1I1EWY368y1TL3uupa5L/iolUcFowbxYpkkJS
DnGyVi0I3Fulqy+j51SXrkt/9FKgFkDoBoYR0GuSlKXNvcuTiO9Vqva7lDfhtbbgM1ZUq9xnmudT
VUnD18A7dq2D/z6fr1Zt8wLI4qe2UhJ+/jwW2cE6cOCC0A2xCSUkteU8SVnrFjgaG2BLY1fnmNT4
BOnw6pL1t5/VPN8U1fTQAQf0qIJssDb8MHgKues9rrmUaOEAan4wP7okE1340TWDtgFX0OQ17Ztn
r9SzfRubX/qwT65h/y+c4PVD2k3lznN90GIiGIgaH9BN2QNTGZgc2V2a1nkYq3HCdQr9yGirNkQT
DnjVSvrFBxXlDwt6i5VlKu1Hnvfauo394KVya5ja4tq/2SpfiigBtCdKznYHG7HeWbxaxFA2A6Ae
VEF6xVispEof8Vvnw0YZUv3RaJ4jCc6k2imlNXzAd+wmFXfckaowwhczBSGcenXh6oPATQIsyaYK
NbYFod3ttEA17gBOddtBvzrq4AsJCCdpN8BrBV60fUkKcATKOEg3naOZpzaiXt8jmetVC+3mmeP0
Sh2z4hXkxy1pksqT2Kj7XaN9MlKvutRZ5N+HVpll63ga4h0ALnCs5P2obKFrVfYpabrPjVn8SekE
OWL5MJz4rUWrgUjVk1Uk5Mt56by3PJ+Eq1r5GMJt9TxM2drs6uY1mKb6tcjcxxIw4YcyUOpXzxis
dT9NHU9Yhq6r+XtCFPHGb/0HqyiHa19O/kMOvTz4nPGnIIvrY6SGJYUbQfLJTvBN4oeMDlKbUEdN
jjyhMqn1FYir8kR5UV1Tfeb9cZDi0enzSxoWZDZx0CRBcg4BbyCCaRlNuqEewv5gpQkA3jrY4VRU
2R+yBt83iWbqxhVDa1K1fVnwelcSx/qQUaVESqiWbuVc3euDPQjf3fY+tyNzmLe9AcIvxuzwml0x
+wE4aSyV9GMEaDv1X3KoQ1K5BZlf3UnjfCAn3QR29K5VgyTHdROW+/vccfQ3AP6oe2lsUEyxqUPX
v2tTu+k2DmX2B2msRgNJT70Iw8rrzqGyNts22ZM3erAcr7/1weTssmguL25yLvDQvcL21Wvq8Coq
aV6zevxIfM67FiALHEB4AF3fGIdb16ZHStq9s2MooLFIWat9rWYqs+6i3hiSB5NMBV8t9Qjo0tw8
Ex05uYM73KR9XkfphvNzBGE77CZOPrDFi4gTq3EKgx2xi0wb/8xLq/9alqEOMbph3ahLjw8RuFEt
4bDHzko+dCpUYbaX6yd86v069sbgU43reGeAc7CTWq2B9qOtUthFhLYwSelriv4xiFzjY/e1qbLg
oIcFoOUDbrs4s+tNo1T1nmxm3ltuME8nD5oKaxtbzs9uKrqmllX6+o3Bm66ZaeUuEdVegfUMuW3w
0ea/R9HytFGAAfpo8G178lOIiMRIsQbzFgfTsxzFc148VGTnyRE5VtbFgKFnFQk89bkG5MkdR/DO
xaoQdBo7ga61iW3FuE2++qMxlaOjUHK4iNnwl6fUJ5lSGC3y1ARzMZwie/1OUQSxuqr8bNovxtIE
fwRnHRus+V+X83sOjFataR8gJthR3z19cWfb38ytN1wmLVevqo67q9NJHIw5I4cTYBORYBSSTSVo
hWQvNSyBgwEx7OzAKCRl2q9eWoggcw897TuFNJZaUHsh/RAry2lw/gbgKABksZ1Jor6v2uBbJu2J
oFS3IpN5k0xzfiqa6EdDbWB+wvOdn2RvUSx2i+Kd3X9gsixPuhmA93L9ZZ4cLjbLlf4Dk3dLLXN/
e5e/vdpyB4vJu+WbQPl5+7+90rLMYvJumcXkv/s8frvM/34lOU1+Hlo/we8YRs9StNzGMvztJX5r
sijefeT//VLLf+PdUv90p+9M/ulq72T/H+/0t0v973fqBmHN7tAoIO2d2NpF4mcom/9l/EaVNCGz
cmKE91n3cWcmxdvxfcKbaf94BSmUS91X+Xf2y1WXu1YHWGi2i+btSv9uvX93fQ4zHL0HM2Z3vlzx
vur7z+Gt9P963fsV3/5P5NXbaX60qqHfLf/b5a7eyZbh+xv97RSpeHPryxJSk4o/+TuZVPwHsv/A
5L9fyvVqoHNr4+ukWNG5U3qBkEiy2Tn91UhNMk3VSTcepVhKZK+RExZb26/js1TXBJCOXgotmzEE
z4XRmeugsaitai3lqYhSANTa8ZVTMEC2YpSWVBL25LcIvZwzR6Z9Ivr+l9RLuQ9O1G6uQcSSMtk0
I2gZtkkSWAvY/gW46BugHumtcpX0OLgehM8Ddb6undwbECrTa5mDQCqsjCSBSU5qI0chnS1QL3eZ
VOuJ+R06OhwiTge0jFyqDEfqnEtd3d4NfVAlN40VueAkW9SXFDMUO5zsycOETHUXJnC5uuDdWNTP
D9XNxGlA3D6mukcMp8ipbpWWVjdN64x9YFakrsvZvdFMB78is+HNbGf0SEzOuy+AC7KinNjYJbRE
Vvu0rCWXDgejwakZnO/rRVnVXeI8BZb35yWlWT4O41VnY3E3M2eOaI5+8NR6pIgZvqBAMNTfyeqB
R6ZE/Q1xfadSfzVPw97i73YmKTe4hI3gsvctJkmhnL6oK/JEPMUzT9nQkVXhlhVFpzlIH4VzLCsn
vA88LfLIhhHyknRcAK5wXt1nSOEyTXHmZE3Qo92+mXO3bKZ6O6RZfn4/cdam8NjFytO7teTQKuwr
nm7rqDUWXPUpRGuzOgQPUZcFD7JHslcAb2sd7H1SZolro10U0m7w5uQ6U1kqTJeZ94WM/tl1kxS/
aWSeZDPjOjvBjGyeZA/CtOmYKdlKKrNfZnLom2aQU3DCjILiaMhmlVXvqaSXwTYWAjzWVfpDryja
g5T2kMltyak11lJx1wpz2RtmFZe3Hlyk7WJBxMneKSWQHuRr/LBdtIkWvkAypOOw/ZvSmAvzYOru
10Vuk0+og6eVF0R5fHUvNcvFPDgMyaobgDARd/3rvu7DnFI9Sg3drbwJywl0PpE6A2HL9U+ysYoC
xvp7u0iHxEZaUBOCt1DYZmS2QHw9wXw3p4PyZgGzKnEYpEOq3Be8T3qzYD2C9aqA0LDRQUY/m6KJ
47I7y6HsLc07GXV6wMZyEFsviv9qgWXa/Rr66O0KoO1yDj71eMk4IsKArGePoRrmj7GVc7qKIZSQ
CvxtCRzUkNQKckpwad0TpQBzvpJjck9/CB0rfIVoQd1JOdlj3mmZsdjWkthSLiPnLjbvhmUwUo3h
tcdZTb4oXU4ko7RAcjPj5CUiQe3oOjgNVL5hn6reOEgLCrg8ztxe+OiINPa8oLqutNOalCoHCH+R
TtKLdJJuIqmnnEub0KPoSmErNLK32MgpzbhzRuibFlMp/qdhJFNUlpVSdX7w+3Z6mj3r0Wyz4bXi
wH0qTb3eTnWafw1Mi5ASCVa4ziZA3kQISk38z5VF4mpSAb8Wt62/UtrpKJONZRaybNrG9deW5WXb
RSbTlnOq6rYZ+VtrqbinJ/ueH+8Nl6/+m6TnoO2TI8iL3+6GHVXcTQRiLgRX/smrPO/EydXMV7Ir
G7DYLVIIGjjt79KaMu2x0q2dsVgCdupDwylsiBtBEysaOd2t2ogES9wCpd2MIIbmAKqrc9BCmxM1
D3UJ7rPsyaacMqptc5OsDr/5oUh+9dKAJAeQnM29NFYNAzroJAQTtXWa25inH2PfcwAfTkk5VdIJ
3pCfsphQ1k0qQtH7nTwb84/przWS/hW3ZXlpvTK5gv2fXLva2TQerk9AvX6IpHKuhpl8kkYrj4DQ
XtTZnYaVtGkGMqiJe8IMn3sJ9YFiraxvm2gvu2lnfXcjvdi/kclLxX+V4IJfZF/BZTqORgbQnemd
MtGMtgYi5TKWPXiC4SWxm8N7udJ7p3+SjVbonxRIn+B0Fzb3VaVUjuUc2fQTpSdrqamqST0QVe4t
W3s0zbD82OJvDlUS2e00ND/g9WjtrvwYBLkKg/pAXr9afNSgkL9Zg/0iZ8Slm17rkk1jaeKttTse
NCYl1+cwD/2z7GVD+ccUuPZOjoap8s9BQ0oyL/efJvGv3iIbSDOFDceHfUJoF8V9slxHrvjuci3V
Opu8zQQm/t/mLcY/5kYqLBROtFPDqNhXsxk8KWoNCn3lpZ/x3n2xRlP7C3JtzzIJ/bpB/JI6SfvF
6xNCOnEfPoexyzPTipWz3drp+d06HaBf53CowbvhS3zR1MY5DkqJ/wnYgVULec4lgl5iunagAu76
mNRLchHs+lOcKN42Ba1r5eAoJ2CaJVtwx7pLJxqCdW+bRSZNNFXbJrWrHBe5nLAMpZmU5aVhH+bE
g6vtb0ta5fz2Cst8IyYc0WbZo29ZFEKlkDs4oJLv5TBVy+zBy9IHEmyTct3lsFkEIWxbodGC8zXC
wKUZ0bgCVGsgcP63poCvF75XC2zvlVTFgwaOteyWQQYLbIVb7Y3Qrwp7awwxWW5e0+0iLdFEyUH4
IpvOBEACrvsnOQoqAHAWi0GYDVhEzvzTgl0T+Y8a9N5alTcbwo7BtZYgSVWbsm33i3ErhUBnhtdJ
AiKlwkgKf2+zzFlsGgG7JBVxbAQHlVw9EIRK4wNYIYmvlR/6Bia6n4OfmkqplF1OdRTFMOK5ZwTF
NgbKYS0fg8tTsZhAxg2FYpHdn6NCYU4+jnTxWJXNstSiWKYtSy3GBYRN+GuznOd6O79Q6z+uXCLu
pzmBL0bPnIBYKyVFqeN31boBqyTs9OdRKAHGcNedRma2tB0V2zpHjeC7LYy+IqwSnd1aj25SG5X8
RfIMGHM5dIjMP5jBKIiE1Jd62vbUxzRk0pGyIOjO3cLY+J0dHnOILi6ZAwoXZ6Iy2cguwOJTs3IL
MjspQ6137ZSPzaoy1B+md/0yVfaGSGAwTJxV5BAvO9VMI0l4iVI8u1QbP/itob1OBD3XRuKYR7Km
tNewdlzQ7gMfxukSqDDVHNa2iL5aUL4eLaP6s5pVl+OqkJHTGJAE1tXHWcRhZWMGmnmM2vZPOepE
zFbaRpTu/KOtWHOZLntyXa1Q6iMoXel5TIaK+nX2Uxqfw82sSZiRsl6jWrP1fG8/V4XyUFKnu53a
Hra5MSjXY5Npp1k2aUOCUyHoBFdS8EYl9AVYH6cg63/0pMkbayOJPueFWh/I3qlPugqw5C+2QUk5
KIdFVJwJi4RnKWolK2GTETqz1VxA8P/kJ5TGtU3lnDLqpB5DWfhmxqiVZ8t2gvN9AalZVplz4K43
v25j6hsC5XOQrq2o/E4otXwhAlW9KEr6B7H+/mKKkaZa44GUSaishEVZ6dVLEXUboM/nR2mvVTNE
xCMlUlKpWHbzpLe47sV0Ocn3U42EI7i+7xdw0+ya5Ra1/UZZrgdcJSs78YqzNCaLYD7qE5VC8vow
RKjHySUsCXC10xufuqY2ro5CeqwcOgGgynNLVY4cVp7TrFQzca55oKiffszpe824Khk4437lGZ+W
OWxi40ddh+0vBNMyctJvGTk4t0I0hDC1W6hn1nYU7KWLTCoys4AnIYHlRw5lI01CM3oZyU48LSLZ
o2Z0tHHOLOsQO3RPfg7k76/L3S11as390SPXVdyCbEbHBEE9D/eDr7Rni7NnCdqA3p71sT7YQzAd
XK1tgadFlOq2QdWKHMuulN7nyOl2QxCRVNyq2YYz+c9dW/zDhEKl5jOJlIPWcYSQTdoHPllXYtyo
in4XUu7yQ70YvpPNYkZnd96PyVJtGqm+18jLf7+0lXpuBrfn35YtKX05GBP4jeCCpJsExpnPWucN
vGlNSDrtoPisuR8ARXY+AnRWX5sYykBnTPPPuT+VWzegvJwjNkDPtbpyClXbeCIzHyro/GyJzE3Z
k7KZRHTSioVGNsWvnhwCk4bas1JgeQbx4i2Go8qe+QIudfeohVn/qGuWvxkGGG8Wma1WwbUp/b0U
DRRdgjIrIF2NyR2PUiibGGCIvU1Ch8C57h6Xxn6JW794JDvT4ahoUcRZNLVHwj0XrGJbvWYW2WyU
mG5i4DUPJdHqj13DJ9TEFpTDgomZ+l+qq/2uPZtiOLRksFIh7F+k1nbDr8PkTQ9yKhmwt6zWq0ep
c81y35l2+ix1kdKuyMBJXzVP8z4M0A+D8OLZymsEUt4jCZvNufDJSBWjDGiDe6/zUkgItL45SsVo
BfWjV7vdASQt9iPCeFF0oXJUNbOD8AIzaUseW7DrAhJTFlu5OiRyVRKG99l3XViTjqEY2lYJAn/n
DSE4BGlQ3GSjWlBDzS0EunIIofEPRVM2QNOoarBbjHOhhXJi2IRJCfTcr1WSUStuQah726ErIQj6
pZAzrAGvXaw4gDGZys4GafvIdexjrsEaI8ApVUG1By0XXMES1nIZL2qICwG8lOOpbatDY1K8HCbz
viD+D8pT0D/6hs73TfSM5BrDAXgjpvxDEvvFILw+/IGkgVD0ZVtTwUAyKd7ira+k1OnHHjiBANAe
B691HifRUJULC3CNdyzVIucxzCzn0dJ8Z9+OibNaZKamaBcqnM5SJKdKW2BsVm2uh+QosppUakEQ
3S+zyJbLeD0Vxz3YNGcvdPojhdkUp6fl/Mlmy73JzA5/pBi6oFFRtm8+jb3SvCSmsw9UfSbXpA/O
KRmm60gOTSfZpl3QHKQ2qsavsS9C9WTnfKj49korsFUAvudACGkFS1eNlu+A5Yj2cjjHFVmUWuhd
5VCryfhU8k+5EXYPvKnS+yT4WUAeBqlhK61Kw1JWdU0+vxzmDoCdOoTbZsXX1i4LmBaAAzo2pZPv
eegaLwQbeJIDJPCvyAZ+G0D8b2AEjmsHqu/bO1sTnAC4WLDNU1je2T5uKN71Nq06G+deNLInmwgq
qrNThX4FBjoahXSrVW8kLYCbDJO6eTa8Nv40JK0Xv5Z5134q1e671kU716mqp3JQ9VfK0kmPrBt2
ilFovI5ke2wCa/D3UhuZnPdhLTFIwMB4gvn7nPikSSXCuMaH+EgJ+Ekq5fy4+jN1OQ1JSVjGX4Ja
AeFaWCslwP4zwPKqZamblJ/as2wovlKt8Hmw+vKZYs4ZX5IK2OXsJ+naTTmu5qYJMOov+7Yv9kZo
WQ+6o3/3MwjJxkFLb0PBk5LtJOj4ZCPeOtFIxZjn9jEYsw+tXf0UiQl57pbX2o7Xd/vODk5xOF87
CVEqwOdlb2naf5BNmfXv7JZpccz3v1DacWOmQUKutA/izmRSMSxqTvUm1EEMopG9viROspLjd2py
QaNDGPkXKb+vIKe8s1tkb2xKsDp2/B6+a2qls8ngwm+utEyRvfd3k5v4hka2davfGsoVl7WlnREq
1rbiqQJSNxwB68EFVZpvbVLuLIEtLcdAm0QkD5PQuMiG0YDD6M1YTOykUM5Zmtp14lNZDsoTiYPW
S9/kfyqFNVzkCJervuNsZm16vjcvEIccoqQYL3nnarDkUKkx2bEOv2mu36RMNn1uAXLp6sVWDktl
Jne36ucjPlu+/10dfiQbOqJCTevgCizynelN3TVJGo86lSg4KQL5lUVxXJMgFM51QA56EN5kz9J5
2xRaBzry3xWwjOE99q1PUm7PWQwMhTDR0r+agUCSXCMr3BBwiFHnMafYMMhSG3pfWNrWEwED/88U
YpJz1qbF2Rnjp8i0sn38SyTllV2H5ep9d6SiHSkf9H221L8x+rWalP1+ydL3fq7elsGeJCd3qw1e
fm3SqAdogUqDkhqTVWT34fecNE+KiP7iL/PZABvr06wV7cbX3PRWFCAJAu6nHya70m42e7SN3Xfl
mtJ9j+BDO19Ck/TsXR1SSuQ0zrh5I5Rd2RgBCep9a/ika5GzTW63Pl8W9QTEfbfqfD4meJO/LooI
eFiY2OC8VLPimbctj2PgSOWISgnz3BTzFzmSzVCa4ksz1Fu9mYpnKVMjgGDq2eXHjciHNJtQbbSV
OlOIgD/R97NidOtFlmWtu5p6ktWXhcbkm6/BXX5flXKwE2Vy8UquIWW5B7asn47xTsrYHEXrSo/a
Azgjt6KcoPiAZum59+zxCm7mNRYjyuSr5wkU/h2gafNGDmWDD/87ifIx3knM0sbybj4RbzlJilqq
rfcgG/TrGmBo6oTHiUwyH2rGsdRvKdnxZjlHD60YSbke2uaZvcNJjlx1NslS1Kdq70C5tZLCe9Oo
+s3XoQozOpDmpCwcVOPBnOJVk9Xx1vaU6iEqLaKzQPMeUkczHvh/uyQ8O9qH3iaAovZm+K+p1NYZ
YCgUc/fmKTej4mtYUbjqgkoF2JGibJO5ci4mCCUnr1HNvYNT5LGnHnIDBIv6ySqib0S46r+ceA+j
RrDjOVPvHarnHjtPt9dFFSCzu85bFezNL13rnaTWVhIQ79OJrzhco/ZBJRfymEJxszH02r5QNv8d
SIWQAgoNSm8hWppFZoPRfijUjnpzLKRcGaeyB8v65zRqN/8vy/3TVaVM3CHnLn0bkClfi/BlK5pO
RF5lQ7HRJibh97KIpEWgT9qu01X+oMJWyuR8OaQQ9Jl8d+soR8u6VMnkYIHsC8qlTh1p5YJmOXut
+pRiUecPoOy9W0OEbWry6lDoavSQDy3Vv5ZhP+ENgnnK8wFXgod0BS2G9cdodS9DwjdYGZu1NRDj
5JR/vuOrvoFald3Jy/RtXZmUyghkVd2waGRPNNJkFuisnfBaR3P216yX040nGjDXY9h/o1jlVFFW
+SkA3GhPfXl/qCI/hsZG/WbxHTvkrgP8TuEUH0cKkPaeO09bOWzGtt9C1JTv5dCfh3ijWkZ8lENP
F+BXEF2cJx6VHwOQrCg3AnqrUlXlCv8zec058GuV6uofRi3/MayFv1UOvcTzgSLrf2jlMHssze0U
qN/7efZAfrVVWIdSk1zfNk/Ijh44wdgajCX8ZzaZ0qtXOZJNFmYCyEL/Hg9Gnm1H56jbOPpxGxiU
w6jGvSc26xTGVANBIArNpMKEyuGu5admUqIkrNPa0relPoA9+0vtVZZRbuSK92WprF1Nua9sW6hi
1n3aFycryeAJhC52M5N//k21AGHQvT+UebC2sxZGp6528xcjMb5B4pntyyAgT6cLiqtsXH9sL4N7
k4OpqapusygNJdDWVg3F0thVwwFAw49+XlFM6NX6ytMd5aEVhCFEA4JbnoK2ZGnGG3lZ5YG5GlzA
J6O2w2+AmZwFAm1/nHuYLglfxF86HYxK23K/tkPAiy4pwYnvqcvohrYHM6LwvgIT9FUr+/rFNKbk
xFZJ2wLxPHxN2B6nhvfVxFNHpLZUyYXVtWdzdr/LeZwDeH1TdvI0UvFIPKIzee9G1h2STB1fTM3W
/qCiFO5OUkSO8ugom4yjUOiUvKbEaVI2UUXZp9pWEITnjgvScDk719KzN/IQ6saCri0P1prfqrcm
idVb0fhf6ijQjnIkG6mME381UBt3XeSGrpuXrjTmCqpKtfE+2rMxX20/mla9CqngDMjc1tNHdy+H
mWJ9gNV5DRsrnBgCtsbU4pBPTQ8vspfMYdasZDcI3KRZLSrVbTm01BqZ4Ux5Y/ijC+3fymxtDzTH
ebzEognwwuSb2hg+O4Xd7aUC9i0f6pOo+GSbORWHZR02/K0HsodkNxSwO7EgtRAvnMu9EUg+9/Hd
qCPkpsH1BSCWyJmWWdENeG4ax8/QgWMUXGoFVzF8rrN+aAV3T0O6PG/12Di0ma5/UHv/hxbou/g0
DTDDsU9wV9TSBd9mJ9nXsWn+BcL+sYk7nHyANHB89I924xSP0pGf6tW8UoM8PMthoIXhtlKBJnMT
50MzzvAjJfMftu+Wu7QdcT56Tv1ZyItKn/6gZBZYVr7ChHfWFRlSp0Ido8+mmwBm7DWv3QQKZBb1
36XYzYZwXxrjysoONme0E8jdIDWLnvn34aSMg6AvRH3v3s1D0q3MihfnMufdOndrDXqBfLWsGXjO
k0MdxL7OneGiBMUA4T1UVtag3Tq4zE3IfJFJbaKOw0U2RZ2/KmPg7JMmtv2rlAENQg6NXtYrOYMk
kwj3tFi1yufkoBH/KSF/heubmqQyHXbJr2Iu/oDOvJJaK4q/FI3aHeZW06lqEDOisCUSVNoRVXq/
DGUVGJA+NglmXznGJgnQlj0bmpJNSN0SxNgrdWLvSvDMQLvWNXUTBO1fZYkrX0kreAKpe6Gy4ifZ
O/9XaN+74YdCEsDfZQIh453CzR2KX5dlpLVkib8Tx/99/X9aZpHd6eN/zcgtkFX47XI3kbibSNBD
S+vlXq1Qfw7M3FhpSlNt8DEUjzCM5Y+O6JFfQAGTfZMS2cwhLHL1YDtvTL20nTgPHe5Tfq0wVlPG
Y8zvtnKmXNp01f5hwpclRWbWhzBeWCZu5CiMd3NsBd5K4716Ld1hq8mhnJeVaUE4UzV3akDZOGV+
fXeJyAhd7kxenXpfhwf+3O8Xhdd2/bnB6Xi/DVMVJGDKBiJn5ynD7dR5OEp1q3Kf0sYzr+S9nKRO
FaJicADqMCZ2R2IoFW3ZDdta87yNHrMPX3OC81cNesEG7dxt+KPebMB7LnIVngrdE2w2i57cv/YI
qsvVcZODG3XWQ2sVKe/XjBCo1qik6IBs8BDPpvUge25QG8egbV/udnJKMKT/yv18PmT8M3B8M8Ph
J3FoGyNa2WJVabcsJfJCJ6csTvdLamBlRFRlbQYRbRz6LqAErywPcgjXOUTAFqVIcuhmQH3U3QuE
Ae4Zfgnn3rwbSoWU9V4c7copjEEeJPfPiId0Bb9N/QTHXP0UxcS8zFKn4muYaj5mGupM3sqkMW/B
dpMOoHXIobSTc9uYvYeJg/k+9916TRO2+7KhFluD9fxsFv2Pxuuc88CmgRJ4kJYopvqpEJTlFUQI
wHFacVPUO7DLwZwAZrDSqmAjV3jTlctKa6nxQRDhhwY10qxCHgX5JpSYZQYnfBt7F0qmcbINFmzp
5ZCpm/uYKlT3creavAAECzv89kZjyUmFmA/qOcdv6gTZhqfsV8zaV84zVYXsr2ispFSgYSbqB6CP
rp2SsYwuEXWuoM8bpzhLdwE+zkPsUFY1l5V1ImZrHwJzeFaMgSprUJFXxty3Ow5Q0x8JXgTqT6fP
egAmAt+Qdlen/V2e2/V8lw+Z/kYu7WfSSe72ZtopV1gVgWQZgU8aquqhFuy6acLxuC2n6DQL7t3B
gVpAg0Bv1wiyXYODy4FfVLiR2gBo1otvJ7ygxNwqn+xHVYkOnbCF+sA9uYH/EQjT+amxe2PV1KD2
gAUHjYNlfDW0DnqMoI+AMzcpcdUbfZXGXvLQR2X6AuPSrQJN/AtpVvnODhoFgDWv/OJRyYz/qKTY
D452Av6wJmZXSjTrK9DVEAhVkAANbn0XBXYIQBGR/Pqq1Qq+tIz0bGksbaRCDmVTOtSx+wGMPEEo
MF8WQ9lTBKRzMfy5LC/FcpFFNoTRH53zJR2LeVcbTaDtqtmmaFHhuLaBiLRa8xxt2EYJlRUn1WXs
DJ7imRenOxxI2er/mUUuVXwyPGNzX0Sudzcyk/6Tphj1ITbi6GFp7IIs6mFaLxLgkaIHcCzhSpgj
6xWXZHCUssVE9prSnde+pimbRaFNLtPwmgZ7q8+oOxQXuwtlt6jJ7AC9aWOk5tu7MBxccV3ZfXXr
ZDgF/tSfPNX50UiZHErFMnxjEldKunoz/rWMMvvm2odWay21y+TfruWICyttGR7gbD4C7THvo9EJ
V7WA0GpB9gcKwC03peIZ5zz0gN6SUFsJoFHXhPjOerIinL1+PamwXDJHLfijTLN+libAD0QgK0HA
FASldRhTx2H3WCtfhkE7UjkHGrcajgS/BHa5kFdz9d1IQOqI4lB/KFvz1ITdblD6U9xYxbcwcxve
kobyIYrNajM2yvBoq1a0d8DWOLtQT6y7dCqhttMBv2/br1njxB+MUnEeCwqJc+DePvjEY16L4CRV
sgH6gZRmtYE3EGv2FU9NY67g3P2zgiv4NYHcFuYKZS1HFmRGr87Ij8xNus3EXnvjGCtbiZKXIOz6
l2TM4o2b+e0+zez+RS2K+MoT8KNUymYM/D9cdosXOQKOw9k3JrWbsYpbaM1irljMc8Ifi81N2u1x
BF+nriXgNxfsYQSITw9CNjknYgjyydZp9X2VggYURcrAS/gnE48kxtHSBmBni/zSRVE15VdoXhwg
lvECKFlIlGlMHmWmFVmGt6rNkkeZhCV0jRhJXRDHt0ZN1dXUsutwrLYkXJioK3L1y2enMItn9tIU
S+RzvpdDqTAK6oTj2HmQosbq64veOq93ezEpUARdasChJ536OF0PZvst9oLuLE2IZLi3drbXywRN
bdcqD8lLo5mrxGETnJT/Q9h5LUeOa2v6VU7s62EMCfqJ2XORPlOplFdJdcMo1/SeBM3Tz0dkd6mq
T8c+NyxiAWCq0pDAWr+JpY1UcBYc/Vy7S5pQY7ME8POCZZm85ENL/V/PIK0ESHnuTRfOAh5FzT4I
DJM3MWjXtR1RIlsepplI0TZOsP1ZWuqgOstlxMew/xybJC58Ywu5N9W2peOhTsie2kNuZDsluXcz
jlF9h0dJvcalNf/2P4/Iucb4+zV6o8aTxCzDQ51m3VM7aW8Bf+O5XFpN0UeHeRiNtaZZ7ZNZjt1T
mr0JK0sfVcTGYwQnQ3vYqb548t2LNaKTFLbdQ5YIYM21dWFvijN3LuXXgUd2ZGvJW+f65q71zfhY
prpz6bkZOIMX3DQ85hroupyOs69tvQoAJK7vHnKYM2ZLcydeJqSXrk0hHfHSy8D9pfnRqwb/09yC
3N8Bzdt8Ft1ZHXwd5QMeuiVSjn/F1Jneo3hBKjigClIsAM8px1ZXR1lycw32C5o06d1D7pjzaa5Q
x1ai7D0OSDyT3GdpzNphkj1Q/ULE73ptrhH9jL4CnAQOFnsvwk2wSKzA4KQSYVczvtiDJi4pCjKQ
m/iZnPOw2l47naRzj06of4qgNFDqCV7LlluE78z9XmJgsyn92XyuI6u9ofwhV6opEAe/j9sUk55G
69em+ckQVf+k+hoEFlKtji6qZVRTtfYuc8yt/B4NHO9mSrV0DQAAe5HJmW5lPZtr7Jair67p7lgp
2Z9kV6EqIlDIciYteq0WQ7BlgJqZLsYkzYiik5rJ0jr+Otf2rphc+9MwDNVeptsoRPp7BjHcfI9r
fA6nztBeHTl8bewmvVMtXby2fae/AKnrHyiu3WZZifN3H1DJFFm4Vk1RDPkeKLCzBaf3lsOPP9aN
U8yg7LX5UIG6FhmpIX052NGI5tTPszFHKYPNwLBTHepgVJlzHeci+HGDaNj6Y37WUkTB/qhvUYAI
op1b4KI1ej0742ZKL36vC+6YmfGIUvOwTqvW402fw1XrNhZyXOa4rrywvHH6uvaup3lQlTeGZ5OC
disUGbVvvYk6Nwm3EquhERj4xFOqNAdscfpueBLB4hmeW8m3LAjWpB77P/JE3luIUb3PEz8Yy6yr
+85Pq4McHHKERi4uZlLrm8igYI9m9xc1afKOFSpEP1x7yFeRXjQvhcRovXEDuWpCHMCpD0oURfnN
tZPVHLrU6Z/JSSxeY2DbVW9TRiFFHuub6nTL0H/ijVFd6oDd+Sv+3f6taplO661NbwBxtlwa6eJ/
vJbqrLXZ+/1aMYYnlmn4t9YyWV0rEc9hllsblXaTdp/hbhR3f+brfmnLUfPWeY/iULusrTuB9seM
HswBrQj7OTMSd1fLIt12y1pbJg3Stxp3YLk09dGcL2StqfvS0oxKPI3pg5qoLuba1REHj4FnHv0Y
BNWwtXL/Rl1LN8d/fqXwpQpjHj1mGFwPoehsoKNRGu962fYr1ePL+s9u1byO0fPWOILzOH5MTip2
FiH6QStjMrmNNmDcboSDtxkwVmqBGffXJRQssud6ZEwxtkycXkfnMeBazUhOMxJ5ume823oEzLjr
g90QltNnc0Z76q9wX6O0q8K6+4/h30arixRLTu+30SocJcl3v0TbeNQ9eWDnZO9T1OifrSn8Jp1m
+oZIyKOGANGrJRIbcpWtw9xs2P7087xSI5BZ3A3Sh80ZRBWA9v6TmRjj2qQCf8tqEuVVXevKW9Xu
wY0Piy6UP3xjaY1tV2n9UYTVBV8Z730QDW5HNVltl3zqvkFn5+S2vXaW0hfbuRzaZ4TNB3Tl2vFb
2ZjLjcf6g8TQHtXhVV/487ME2II+iQ7Ga3nX7Aa4xz/E8VC77axKfw49tGAH2/5zfIxR1Mf4j/gy
Xi7jA5fx6vrqDf19/Mfrhlznb+PV3/P7+H+4vvr7m+Xvd6dyO1JAeTZ9+0dk9sO3HhXoOc3wh/FW
MOliBP/t4kDKQHzDP/37mFjuCZFbyYLTtg+oByW7wAumz+i1IcXWaJ9cgeZxvcQxL54+o8iztn7G
C4h21/gyfvYseSB70q1yDFduWittmlWWa85NPZguBh5SbFSPOqiOj6Y6a1qTKX/rLpP+1EfjePiI
T8ZgkymL9CdsndFlylPxXsn2xaOq+gd6u7nmojfWz8NhxKNmPSLDsssqv0HajwN+Ws1ZNdWZOmgD
5fLQ6lqUUHgkaVC0qrm7VYe08rvbeDmoZmCP9hqJl27zEWusnjy2aofanOxMK5xXap6aojqmClVZ
OJ0N8v6u/i5nE6u3JnwpPTs+y8E1rvEpQeJkzBzsNHUcSdgbWBc5IP+SZvmpdntc1DPQXHu/wN0b
7XbtTKIX3pwLFXk2F/27Yn4aY7Y3fsl2y52ecAeZnzy8C6CUSswXlxi0mwljVxYcsQPNzxH3kNum
p270kcAFloHysd/U63D0YBRk4qJ6nXjhWYES2xpmND/1CHEtu2EWk93a1E3/LYmmTwa6hH9k6b2L
kmG4chzwEfPCE0RWf9tnrFtECexA6v1nAcNt2OM8F12QgFq2mOaAlS9KXONBdyOQAQbCbnpdnVRr
JDVyp87qu1bW4/Vc4xm7sUXGezYCBILDD2soD6Ge1zATb5uiGst9IyeWzAjqrSlOjrc2tK0CLSiU
fkz5NWjL9VhNFnq3lbYN9Tw+pcYwP7Z2guQswnKHUbf9rddF7c4bcYw1tHB87dJF8LEroqNI+vF1
8hJjxQawwIeB3rlOeaJggGfl8YhLSc0T4+cBE8g/m+yPkpPm1+jRowV0gQYlX1q3X7MWoWqSGNw2
0hBPnKUJzx7RO1lsktHkv2S6i7pmCZaYFPzWqVrxVmmLh3ib+ncU3JobC3QJ3lCahC8ZRTsu3q3q
DnZE4XniQR1Y3N+ZuoGUYYh22TWO7IClVfctyO2HMoOYEosZ2e2/plhxPZA3jN4+QjMinQfdJKH9
cRnqpBjb8GS8Tm0Rplxnc19sjAAj5AYwzm06C/MTUvx1qHefSluEFw8xz5UK66nAQcNy3gxULan3
ezss2MFNpSQUN5pY4Mp6cWzSxtc2fdKwRyoLazdLI7/z0rC4HnKsTjCGRgLbAYpyKUFW7nUTHza7
7ae7PJQO7BvD/YxE866ywvJHOXRvZWOMr5arD1tNJO0Zh7fhXHZlvRlE3z3LOg82lMjjQ2vE8yv5
BWA0YQP5YjCm18jrP2tgTaAJ0tJDm/VNPjxZRWc962Cn+Hjn1wJnnvto9h/VoHr5ysB5MFZujNKy
KPq9po/prrbQ74P7Mr6Y0j9rPHe/OB46mOYIOCeOcZ2Ekoku3Th0X+oJCl3pZt7DiLLYzWCAA5hA
an+pSb6Zvlt9Qnk/O4RuGO/bzu7el5KRGoBLLxq4UyFPjRTiScT1a0/edR+SCzg0i/Br5xvG84I4
2qWNG58w/YUEiZjVGrMv8XXU/qiFNn0HUMrdD774Y+S78cGsYvPgtYH+0IVoeyM8Nn8HP4SAlvat
Cb0M3E0r7kMX2+pWuljOAnUoyja58RcFaXUIplk/g/3Jd9MCrfiIXc88RKa9ji/UtcdeBkYGb7Fr
WgTdn9fhvXEwQsVera6K8RTOLqnFv5+qtjoIyxpPOjSS/z5I7zSdsnM4jCc7qbkKAMYIjBBSCTog
MzM25CVsYvuhakZ5n/hfEsvEVj3Lo+IcTsGj6nP9zn6IKqkfmgJM6gClIFmndmRtZekY1LCWdojK
7Jpbc4nsG8N9C43HytvnNSp/UyWMw9xQkobM7rIONqj4tDP4bwwsZX/ftjGwf324qBaCt/195Xhk
mItUbFVMHRY9BbwKjAtGJlxKxbpAvOWG1p2uI+w3kYcnMhQzWqIS7lYJ1gLvmAX/WAv3gep9cpfp
PiYzkfeQm7X7UOR2d8JTO16pZuiO4g43RVJ40pu/tMZwGgVIF81P50OnWdaORYf+DgAR+VPt2I7a
A5kn+TC6dXrybOGvwiD8w6rSZcm3eFjbT07N2qSjbrYaUVB+EWmSbdqgbnn9DCMAUIK3bsuCxXWh
rOt54930kd5SsS3lXbDYFSAROz31PSjBydLytzDEttl1EapzHNQF4Hk/VEGbfsXFL1zJ3MLYY0BS
LfVagRlEAjTDlfkzcrF4YfWJ+9CT+NtOI/BDaOPGrqtb2BgADw5OIcwbyaL3GEreRk9f7hG60x2s
eUhvoX9zK3LG9A6rRR6L7AIepsXMpA6r+Ql7M530CIZso+vZaK+Mxhv+CSmMQ37ULkK2XeTW3y19
OlbFIsIf2DCG+xmLgzyaVo403JfZwR437hs21WEDQ1qkG78NmzcQSDhDmCXiw6bbvFXZir1Q+Dbp
TnlGSiRbq1GZC+fbzDxsR5ZJSL5svKxAFlW08mK3QcNv2mmwQq21Vy/yIUX6ZCdKIZ/sUFvr0zmy
LzKrYjxrxuIksFD6ZlbFd1u3k3fdAL4YJx6+soZD3TXLZoCyDlIXedhclF2PQLTfdby6Mlf60Mo7
b6GRKSatYtyCxZTI4ctHb6HjqtCQhqizZFKcfC+rnma4iydMpuWqblJ5GMHE7bBH0u/SLo7RrzAu
qgVSFmDKckC5sNun6BPzhAytZFubg1hpVe48IsciVtPoBJ9lX9/hAuGFKx61ziJoy6vexkUKc6Qu
4l1hljwpBzPVAEdleLqKxIWY0bm3pKnMeRNCuGKd2J+vzVoGYtfZCDJ5lKX5GJJk56WGrp/0tMVn
C5nRVSaC+lYd8qV40/DOj9dgWhxQr7HOqlPPLdRHyJFtaxszj8wDFdJZYXLJzHznaEjfT+DA+BmX
1n0iffM+KmV9gWCIqutfoXY561CYDMbJvfmIj6lmrZ1WVjsjTkN0ojHsPFwvxx0R7M5kXy+lLozl
aH9um+EPo53R1h+j8kd+aQev+6Gldr+yvHp68prZ539qDSd2tv5m6MqvrAAcXDQoIUu9iKiEQbFT
zY+Oa5PiVeq3xe3f4qPV65sEXe2NGvZxKEtSGFZxryKWl1feZpyMfi0sv9iOwUkXoXxUh8jjrQ2E
1I+qiVK5geIvSjxjKx81voWPyFwW+9DzcJdfZqkYapqw143EP6lxQwfxJZ2D3XXCMqwUUbFr52Da
qFlDY8nHptFfsSQtzyo0enjNyja5qElg90rcRqJDRYXiYgwk4iYD50qzGUjGIsvP3VO8a2Ee7izH
DE+klY1HY0beVY0Y3fYr2S39qdW95tjY7bALOryC9TI5tmVlm5i8iOBSd/D9e98+o0qChCteAhvb
WkSqsCbcIAPbHMlbem8OD5e4cq3XKDaS8wAGbV0FjvdmRi23Qr1J2GWX9qsdYH+Se9G6K0HMG4aX
HtvcNM7g0+J9kiTDXdl11Ra1Uf2RbL2ztto2ea3r2EBfJkeX3pk+axhCfGtlcqxS0+TZ5k37OJgD
eCUc+oibs19Mgt0N2XgnQFg/m94DO/PW3ezPN3Uq3Zc4c7ZRNRNHf2VvzOim2oU5vheCrLRE1jUg
E4ELuUkJZJk+lcDComqs7vpqbh6CaPiipleecDa5jSy7oHqdxvktyWbz6PtAzftqlBfTdYtthNvu
s10bNhTWIv7SOrhHqy1PMxxjOTh/IHLwYjtp+R6XZb3WW0M8FuMU7tQVB7Ye1yu66LZetHzAfGp0
yud6HG2g/Ub8xY7krUgFmyiuWICq+G5Q8Zq+Ld4zpoi8dyc2+TwGxzybeWQ9RQMwjCFz3wcTKIuG
+sDRQkX6SQ8zdpEIFMyVXmDoVVxRdGFh9TfcOfq1QtGBau3XU/E18OoYA6rAWzdGIw6hT3OQGWJJ
w4BrMvkaMNSdtY81LMJV75iyQ4uAZK9Vr1lDanehFuLtZ99ovvA2aBaHX7Noy8Pf+Fr3RodpV66f
7bjN7ibNKhaq2vi8IMyqUhyb1ple2OtXp1Ak0VYBy36Px0tcAdF+j1esF/4prsZrY9VQkcztg54l
4S73jQgLejN5iaSp7fsU/QM3SNKXQWjVyRGYX6re0sg09h0TT6Sl1/cFbupjdjsbSxGna78quIel
yew0DMgUfKA/VIx6J+X4n+gPbbSyk4opgIjqaG3qAi3gUNdE6NjHoe3Wm03KyFoi3muPO3srHCxP
qvcOx+vXZhHQJwmIwtkyNPthp7u+BNWoMgXW1FsXdSaWMwT970Ztzk4q9BEvC6fbDz9nqQ4K4n9O
DTr7l1kimr83c2sdhGEkd32eupsSus/GrlBZVzF1CKE2HETl42oFieeubWTPAhfuHzwvay3nVPI/
/DkFd7C9X/fezXWculYQQJrsFuLKL0FND5yNO4N36O021jbSKptDg9DtKvPbCMPN5RVSXkFdW13n
Ont5BauS7iYPDPJOZu8/OLMB084Ym++++aMqk/GrXRXmmrchv6O0bJ8iDMJ2Arvdu8hIbTzSWner
5T47S0MWr44uYefUoj+MS7OwG6SXU685qV7EHCRQpmg4T3pcvNp9/tlPBucCp7t4tRK28vyqTl3E
10bPeNV21qt3MHzIG0VWckk0P3+COXSn4rZXliA0IA3POCq9u0O1mXyneMX23bqphvjP6UGOxFiM
ivrFdLJ/nB4Canl35vI6HRF26yZ0fbF2cxM0hhkH69Qn25OaE3sBr08+tf2bj6jRS9e02n2YUUjP
veRTb0beiRRPh6dNlX4a2bXudLcFLcVnsvI1p92LKcBhzmyiy9jhzj6iD31oJyyStHCSmy6q7Nc5
dv6oMtwp6uwBajJL7IWEAV9jlTjlxTOt8aycdpUf7xLi+44dh/2XRe/PUFPjWTjkSQCEtemPTVY/
JqhT63s4Ad0vTbxj+iNWUY91r5eXKG1gGAZ+vjEtCwXE5ZDn/ecMuZTjJGuMA6cuye8MFMfXiev2
O9VU4/SlI58ERcTGLK4XaMZm45sZKDxpTs9jQBYhMds3HAhrKuSTvQGNtCQUENxGkzu7HXmovdpd
tkrttHuzTEc/BaOnrdWsMBT9OrexiVa9+tuEvN8biZb4nGc4qcHx7li9J/lmaoPq1Ma6syGtGe1k
xhMcjQHpwGNkB+Za19MSoe4WQO4Z/BBZEkn1P43a/GguMjkb1t7eqhsanu9olK3JPiYvXpeCzMIr
9UfegtQLnO8JMATSxu78ZBbY0I6jFd5YNnw2pCLirebCubebEr+imXQz1XT0Ee2vA3dhSoMh0pbY
JuzHoHKPcLedSxv79cafMvHWCPtOvZAVR4cULiTWcDxIK30GalAGyZ06c9r6u6ZFLoXA3+J10/kY
2OMunpP6PIwaG06p2/IsnXY4q7O+SP48cwdbu9FjoOIM+Aj/bSju6MO1t5eLropTkZhMKZulfZQf
fKysrmWzgQ/othbJm+qsFrhIGa+mzMueVfHL1awvLJWKW9WFf0CxEfhb7FUnS5Dseq069rVTPlJO
jlIR3mNiZ28wagLaFMNmV7FgOSPvvtV0QbkYl8JrvA5Ee5BUb1dqxMeELEZaynfHGpTmXxeJc/4U
L0bkZ3kZFVezUulZGz/Fjlx1/HJ1XtC6ixO9emAr0b+0hXcbTxIkyNLyjPxF02P/olpuW34P8kWT
Y8rli4ujO16T1Xy2l2YFnnlVW94AdIKZOqI1axH68tS3s3xJZTStc3zyjmouGW+sJRNrPqi5o84N
exoia3/9GwwURgKJa4Ka61Hk2vWmnu1U75AGNtDHxV+vxoKzyR0sFOVQvQZOcph14X52LM3ZZIAf
IA9F1TP8wftrHFWOTcp+/qyPRffoWeKLiqvrxFOLOqffzfdOAfdadrP3eewtg7tt19xFcepfHGE7
pCEMNAS7fNy0I7aStRcN97Awh3ttoec3PCZn3Qdy9jNuCzvaULi0WaExQnWEtoFZRYECyxIKK13z
EXad7grMSm5ULLfSZMUd097Uxy4B/G2wit/WvpiOKYXN56GcH7pmwCeoIxc4ua18dlzIiDgEnIel
dQ1FqJk0aM6qVgJfDS/zbLhRzSlIim2YRdMuSMEgen3v7ArF3NGjoF9Vyynm8TurkdGyhCHWL+we
A1xvtemSCBDOgsM15nSf+/OpqFztveOWauesyNlaHxAZ5dsFIvK9y/0DJmrlCw+J9gaF2MVhlzga
Qd8mXG9048keijLaTPdRXRs3McvsGxOejNeTIRfctFf2MDaPhVb4h2hKxv2YZNNzLsZvpP6db4nD
fQS9hE9lZWU7D+TFiWR6fI8ELnIyTup884pHRx/7r53A4tcNnOziG4AC2hbUq+bm1g3aCO0qYN3D
bY6mOgTpYN0siRng/kvwl1NfRc2+znfUh9F8XPo720jX/rLVZHm/xpAgOJO/trzN4OrxJtY0d9Pn
nXvBwbtnz5Pwa4mq+iBN0wVfQ0dotwBGpT1CUuRmfVBBKlretduOIsgmviNXI0pdm95A70Q3nfkR
71x7vxhLYeE1dTl34/EH5i4NNg3J/Bj6bDgRWbmolppA9VDfjMtWVdeqPmdh26/rrG3u1ZCAZ9hx
Lg1nZaIG/Ggvh1AgvhEWqX9UTVOG2SXSDzCe76Hck9ZvXm3UF8IVxPlHnT/5PQrTFLukuHzS4a5s
9RyLgQpVlqMbzNGR3VJ4yfwYPyRyL09RWGsrfvjdZ1lnf15RUAP564otull7fy70LVah4mAZKZoW
TRO8IcT8o3HM5j6CSYDdo/+qwpOpk17JZ3/vLaMq19zbIjae2W3PmL4Lm8+auEQfdzOC5T7hTNW+
FflG/Rtn52F0TLa80OncsoKLnY2/NnG31FYUoZx1Ps0YLQ1Wc040CKe7aTmVixWQOrRG7eIdwpgK
AZRupYIfY0yUe/d2levruCDtqJyBDTEdio5CVcJvcmWD0XyZ3ExQB5rhAYdluB2aznvtnOUbVH7C
WMy/hEP8x7UFaPPQstrbRFZffprqvOPWGhTHMNDijRcEcqfV4K6Fj1NXLnlSBYPc85Ut3wpET/ol
cWtBgdmkVYr9J0K0D3bopiuszeYvPUhSnmB59iDSNKN8GsJW/CnVqM6U4OJVlfHaw0abVW6w+xgn
kyFfx05urgu8+Ya+GO6n5ZDVHnn0sPrR52iAqJaKm2EMi7SeWIuiv3wd5mdNfVfZb2rUR7ibWODY
oswPHx11RQIrcQEwqqup12t1aYB3NYv0SzWEW4tbwyVrR3yu+il+LMDyrIUDCnVqADAMUVl/Nozu
FdPL+EdhUg0VPXdd39gXvVGxBbTCk/BaTKU0+4c5ReabX08RGZx8fBZDOm6KqrbuJRIwO9Em7W0v
YJSIwVoInYPcfODlZTT2a6/yoehRMKPCMkTtrepu4YPiDDP8aNkg7mvSwUjxlCk2ceXD3Dv46BjA
uAqtIveeCszfMJrk0467Uw8e7w1mnhqekGc5prKN1k07lAfuUsgutom1iZYbrjp0XVJF13ZqN0Wz
MluY5P/6r//9//7vt/H/hD/Ke1IpYVn8V9Hn92VcdO2//+V4//qv6ho+fv/3vyzXYLVJfdg3dV+4
tmHp9H/78hgDOvz3v4z/5bEyHgIcbb9mBqubseD+pA62h7Si0NpjWDbjrWab1rAxSmO8Ncrk0vpF
d/wYq+J6JV74opK79wI+F7vWIZ6N7jOeKNmBAnK2Uc3esMVNg/kObzm9IBOCOzNIzqo1tIH7DO0d
vNG112RlieTlneooxQi1qi7RNfMQ6rJktu07s3oLvdg7enPWbVQTrcFi3Xh5ch6tqnrrNyCq87fU
pBiUzUa2VoP0VMqNTyr0aBXxS+EVl7kbm3vDCqqDH5ZyZZgl9HEVLGoPuloUnFWLlGpz3xjatC1a
P914dd7cl6788p8/F/W+//1z8ZD59DzLEJ7rit8/l6lCDYXUbPe1QzkHTF35UE2NfBi08kWZwpsF
mKJitp2dsphPpP6qRrGbyNhMsyMIjeJHtXBm1MGWRo+nT/oDaF7zwEdOPEn7089R9pIp+RnSQ8dC
lVfv11WYjK8ZuhVzQLlAtcAGQ0aJX6Mu6x+L2YPMy5hQC9pLYltkRe7/85vhuP/tS+oanhC+6RnC
8Ex9+RL/8iUVgB5nyVbx69y03c6w+nxnsTY8ksbMXpKhvPOsRP9SeDkFlt6OyWdHyV3kZ9pKdVSe
9YK2bvAE3Tg5ydyftulYY7PXdE+Yj2JZOWfRo+yS7HhtRkvpQNUPdBKy+15LMJ6Jsh4O5s8eVWOY
0HNPB6zKPioO6kxopnv7MVfN+rjoL4OZr15XjfiIByNwVqQD+b4D5bipiim8cWGal9d2ZGJjybu1
V73OMuRjHAJ50XWGr2Z8dGdJXjhrTOfD/+EuIsRym/j96+qbrmHawl02z57p/P4JtbrRomcOuVtq
cb0bct3HPQj9H8+HUEmagX0p1miXJGjkuep8SPqy7N7cVsQ3ZiaLh9hOigcjw/0zG3zrqGLXg4T5
EUYVhqTLOBVD3DYndyH7vWr2k1M8DJXwSKJm3W5SLx4EFUXdspZbKCEBMhjQlFPLLLrV2GjoMpsp
pzWIelKkXrtOXaM6+1kFD+aX0w7B4UMyB/eB3oJ2Twre8SGzD/w2nfM81ul+HMz4rkwysQU2Ojwk
/CI2GDGmz6EkRcUuPXjVqgGK2Thr71kUfdV0wOea8M7oTc/PcLEeG8voDjPAKNKcfXovyHXeqzO4
Mt+5AMqMP0Nlh8hh0uWvlj+P3nVCVYcwM3NwoR/zOwmtMCANF2v8GstF8G12yjr9QloFYrKLyFKo
1+7asgd8foUN7Xc5S90ZqXZ12s6xfw2qJkBz69T9YafUfsM1WO10SQdmW7+LgDCrQ5geLG/SjhQ3
UxSstdZcG16EBQAk+jMS+ME50zp5Q74ZAjwtFXfChjX0L6eAmreosc+njzGlz6Jto9qOcL4mVtju
g7I7xnoVvUR6X21scu/ncra8i099eG0uye4+XwwlM/uNR0y5o3poHTHkpj4a9NQrG2e6wvQVMn8M
Qiz6PKicC5B/kj551ha4keoEfJvcDQ18fzuYq7XV5NNq0hPsr5bBZudTZi3iz2C8u/PsD/oFtOSf
h6LAgIa9rrtnnzqLVStz/ZIYwPKQbd+pcY7xQ5+66M7tUu92KrBmHwMn+uwPsD7SyWa7IVv73h3R
cfNLM/7cyBLiUeBl4GMs7Yky08WSQfBCTkau/OREjWi6aEGjh1uJdyRlTWBkfl3dmRq8ASRpsc7O
5/pGxQqwnGhdGtUdmYqXoUI7omEHGm7Z4pHYAdt5mBApDreVzaJNK8BFqHlqijrzowQiTcb/5uNa
s4cgfMaPZZtFGW9sArZsa81BtHFZLm+NTvDkRjX+AsuhvLGDxrlrXeHcTQlouv/85LDMv9+XTFPo
huUbumkZMLit3+9LYxPkXTi49pcxCLbm4qNgLAcybz3bfs5sxO0CsGl/BWtvjDYN5fFfYmp0Dzrs
Ji01C7WRZbZqq7NoRFZen3OKT7OJtGDX78h+Z2whnfTSRNz21EGORYJfhjpHVkHXEeJhlGqHjQ+r
KJQ3ao6KX4cAIXpBzypEUac19FVpF/DZTIyu//P7pJYTv92/Tcc1fc92PN8QlqeWib88Ye06wd1Y
c6ovmpUUa5es0L6sK7xFATK9SxsFO3TtXkvP62/IJ6NfsMS9BKVEvbLnu2zWgvvQtr4PlTPhU8v+
heVEe7LFqH9K6mql4lFgxgeyodVONY0Ci1AQHM9k7cyzFY3N9bK1UbEg7/T8MttRvsuEMWC8kMU7
4YUe997U/TQgb5QuoNi/xfNwbVV9+TmcUm87YAx0zNBd/BTr5RVgnKBVeo3jZt5/ysgnK6Dv38YX
xBVg2I+1BB2Hm7jxyqelLrmpitjaqaY2deUdrNRDSr6rQnhZwPCOZHlM+rJ6wiCbCkvX/pgmzdj+
50/L+2/rIZ61LoUwm8/LFpQxfv9WN3VrelQxoy8y6nGCNspPs9MGD0leu5ehbIZVZ/fD+9hH4AdC
34Gt7BkvaOTssMQe3m05ZnuvF/HetvJu20YgXUzwJTfGcvCorN2opjpTscgW1Gpc95SItLhnvYOk
i87PpsYL+R6xQOxiR24uQ61X58CYhnOFWcZLN9l3UZPMd4gSlS++sH9Q7+huVStakpRdFbU3qpn3
8bBufHc4NsvMOmSrFs6mu1e9MbjxrZk37S70RX6KFsgZGMj+LBc+kbNox/frrh3aM6g9oJYqovo+
RtWDQEbcY7dQtChN9cnwnZu+s9T3cuFQHyO3+chzrDqkSUsyJdNJYaQ6Q81ULkPbLjy4AeTM1p/c
Wxcpt3llW6V7WzbWpSnt6Vj/f87Oa0lOJVvDT0QEJP62vK/2RjeEWgbvPU9/PrI101utCe2Iowsi
HVSrCpLMtX4zd8he2a41lv0vP7z8Yf/5mApilKam2rpqsFnTPi+Ee6Sou9719S+j8KtVbhUgak2l
fz/E3PCokbhPeRVZG7YU0dkqHes2nRDetRFYlDXy4MnV7AzgoGyBZ1Opbp17RrjIanA1Y4+UmTyg
FZVdHJu5328MhcUonuMOqlOEWoZLx5J4//eb+o+pWpi6yu2sqzBhdV3XPi0hY8MsHV2LtC+25j3X
kJrPDbPMPw5DjzoffEeNhdxkL1LEpc+gRvqVkXnuTZmKfBOzvcdICQ1SM8u9Q+mE1kEFQrPrkmk6
e91QbQqsmW+gn/WLXh+bYxFqxOKNot4BugYllExrx0u9vQF+7yBLhRp176Xsv6X/1fvR9jGOxFr8
L6+0Px5+YbqWcDTD0U133rx/eqWxgJvYs4/VlyhNf2TZlfC8dx6iyLqEM5ZH4nNMkcYrFI/M1Ueb
LMWtI04aBlvvJ5Ro1CxkMZpmELFejht5ATlYdqBkM0c/vONI0nr8BfXuUBgogzFAa8Xpz+/wb1lU
h3qWahqTdU8MFNwBhFEBoAdumKivttQxmdvssNXO70NAfb1X9XmIj+bKAq3ZERnYOrup6vRBOKZx
kGZDOBFnN75qNjsTEV0IWFTlQY7N0/h9bAre31mYZdDufGXY9JGoofs6rbZoh/IMUt75EqgJ9vQO
YDwiJDabWPPFaHz3i9XbzRLmAuoiWu/cVAlirGLuQGyIcHAeZFeQNf61mDxEN+eObGSN13gjZuBm
kJ/bQZ3DQ3REU/FsAIj8+2Niy+fgtznAYk3jAmy1bQcQov45MoBkZaKhZfvFGkCOl3VI8At3gXWk
9PZTaXj9yqxraxfMVaUHw63qTXaWvby6ce8lKjwWpvmQscSUzaMFdoqX2xtqoPZTq4H/cHJDXcpO
V2DD4vGocJh7nfw26PsH3InKi1ma9tn0Q7FsUVZ+A+YOo0ofX6a6APWHa8o+C/3ioVKqZzmgU7J6
YbVjc4vcY3wM/ClZJ96gfG3ChRyQi8xdFW4wHr0ic/GJ93j1z5fGT++BfYD1wCpG3w26ghuZJF46
qUXYz+/5fZE52qpaVN+O8wH6z6+2KjOqW3lAKuWfbXLwx7lK1NXv4z7aRIRSEmuK3671+fqlDSqI
7aQge35v2+olgBPymujYC8XlkO3zWrFf+gjd+Np+7Ro4dEmnVqg1edarXWIHDmWRBXwHrgSDEUTO
aIdeCTWhzqybLhvQvE6ghrpuue8KEn8IhSQ8JrqPXTR0/wj6XDX2RxYeffDk5s29I8C+iLx+ciEI
nCejce6Bs+nr3kXcLcSN+H70qw6bO3yPIqQrlixcQJgP7VWOHSYcvJJK8WCtMtbXSIZV+ZQsZO/7
IW+WhhtNtwkbx5M5aPpW/FcoReqdfJI/+RBZwUh72mLFfPPRJE/4dP6n6qfLtTD6VqUprIU8V8qs
fFwvxXLsoBZYGuV2s+76XL8xC60hwcHH6nNpmNtkr1q44r3093E5muEbVyXH5s0Yd0vC3WXRz71H
vbWM9w5i09rJlQh52evMo2WpGHzAKYyLyRFNOiSIibUYKGo1upWH3GsQM/DCdDmjad7bGtOY9nY2
w4Xnce18UJsWfkssrh+nRnarXMTULvtoFGvUjR4Nxx1vbXWql1rf1VtZlYch09pF3znpvmuK6Va2
aSnwYAXSk6zJ9mJ097lTjOePptaM0M9vo5tMN5sbM/vhaaSK6wRHI0Kt4wu2Xj/IN/o3rqIZd4MW
XJrRHl7M0tJB06DehEPKP0f1MTMN1MrLmBbg8mEMLqNRT8tl4l88pM3uXFUZ7ms/ItpAynDrd9Nw
L8pRP838Q8ftspL4JB5Q4FxACjK2yxUHMgovJy2+F7wj0OUfb9kuF/fqkLZrS+vFWlZHNw5vs7Fc
ytr7iLHUloYvlC2MZUKMPrEEhL3saqN7hn4MRcfqr8922ETaO9Ow+novO+Qh6YF9blxTn7Ws+moh
R8uexlbPQVKUd5qLeHbZmP05th3t4rUAkgCRlm8JAmQpso7PeZpm2ww9xZ2p5sUj1l+3csCXUPj2
IbBrJUSNDl6H2xjnwXEGYk/jcIUCm14gAyzeR2isZI5KbJw+RshhfpHhomY1IJMN1WGxXDlEEQKs
yQdzmL+zpDpqPiLyQUo1sRpvn2W9vkatoURZk4COPXjpm46AThlbw3eMigAWY6l5100+8jhpY+28
SB2Zex37fUjCM+da9jeLpLJkV9xkWTrueR+nKFY8tzC9MOkbEACs818Hd65+tBWpwc84Ey03INzc
RUAu9wWrvqVUDkgrG909FSBmVOb2NVB5LUvFgGlM7uy0FKei51ueih7FZ1Qbv0zOTFnSlOGSqoT0
DMxEhMEmFeT3smi08gu8IdBHgZvDpWnbV6i5VpKVXyZA/luvnoqtrCbiUAwe8LBhLHfTaNQbeTKS
kMscnttzryjIO3nxuJbtQR3umkgzH4tJ7Q5Jb5greRmtsi9qQrjQy3qkA1p0JxPTMmALesOrgY3x
orSlQdE03mLk/kW2az7YbfDd0thgeImHYzAPF42i7lwM+9ZyVKGaV6O2SPmCgD7rVqGg2NkPr6PZ
IAFQLmL81pZ97JiPltrai6Gpp5fGr2PcnsLxqxn58NYr8V2Psh1pEh8QpvIzhxsZEdC5luzYgwVp
7k2fp9WP2E9vlaHTbyc/zGBMm8NNBmx+CWHC28SxmLV9ldbbjaLJWesNQb32omRRoZ94dU0l8xa6
BkOw4ivdxJmPSn70KgLVZYdVVsrZ6zXlPNjogMWiPMqmj3ZZUnuv5z/FgvNThxHoynriw7bVYOHQ
NcVXJwmR7TEU73HM9AREs6vcuHnh37LDcRY6FA4ysbRZfp9dTBHckqI8RareH/VBM65q45tX/ELi
WZZtLZvkIQVog03L0B5IRRLBblkyuKoWPPYxgFugLzEokjZ8RKnDvsZdyXxFp+XFw72v/8jLMHws
VFGtnDHF88gdmvMwHwoRIe+QVTvVy5qz6tgc5pLslMNKQy+WJiS+tWz7NK5MBmwvrQdIO9qpEup0
7N20xECnjh6mgTS4D/jiR4hvRmN4PzozCBce0lPkW/1p7YMYez8JAl+5iRJtYQKVPtoC4VgNRlqH
YKXe7RSjuXmvoipvnMYadZiFvTbg2z02GQYGVcFjEplp9VhCFFxjDBZsHd8qHzMdOUtmdRu3GKqi
NDASdXJEL+dqaNv2LkBLeimrTtuVBxaY0XsVRUX3CC8R/NE8OJ0s9SwK/3siHrx4Ur8CBf8WAdF8
HerSW/iVaT8klahXuWMFt7D/8k3UD+p5UMqBIP+oHpKRHymxCiRW8PNZWqpob2DYxjuVf3tLG5sL
pDxz5Vejxia7+65pQf+TR0OpkuRnxMpuEWON8FSGY7CuCiDCP51MpKvYSngC1MhyT30pdtgs8gAU
hvWUlZl+KLxxvJlrZVPwTflB9ggKOFkomj4hYqqmj7ZvAIn2leoge10tQ3MRXXsg8fSKbuhRuXOn
jaySNY62PQG99TRm6SN6VMYibZX45OZ1cBVC+8lk2D2HQZrvCng2awthymc/dzXCfoWKKgu9bhec
RNDkd03GDGL6CNvMzXZpVEfYzHJC7Z4b9G7XxVCrW9nLzYLKfVIl4LO4ZN+vKmBKTwYyele7N/7x
uZAC07U8R2+HjcCe0VK7+g7HsRxocollV2yFFx+pxZVTpfUzcunPMJO4P6N+ScbbfXMmD6DWfJIJ
92Q7BCZW4fNJgQNSS8fW+HkKkveTLKdfOlXhvPl9ikCFHdV3/vxJqQj++UmA4OrnrPKfLcVXfqRl
949PgtW7mxRrwVxqghKdk/EyRS8PVdps/mWTN8c6cpmsf8/Kk0YThmoROAOA9Gecp828IlBU+BR2
FOgIf7bxUVSZeEpF9Dr5UX1F+E88BXoMgrWuHoaSpU8/eis5CC42tsZArd9PCZrxEBmgimR1Bkxu
UaHT+eG4hDMo/QptEn0nr4hEJCiLIiZJN/eOYXSNsaC50diVH4j+hJc897JdkOCzwGoN4Q9zCk++
m+SLIGJLmYcD7NJ0wBkrsR7kCH94RvOtu5f9AbYjfHZzkbVQ41WUjmpyGN3gyaldC8EUnd24am29
SldmIKFzglsKPWiu1koW7eI4isAbUXWTckBe07V3smo0FszQohHHwBnvmYifhGNld3bcZXcxWw6Q
mGQyuoJnYelHPLxhlh5lL4iR9vz3X1DTP2ce5kyo66omsRoLlpD5KZwV2cwmZe307PCGcUuAcNLJ
3k5MjF6KOFaDmXZ0bk3VOFpVxk3F/xWinUei2RrNGy97E6oT3RVVHt+VmFjvndhsSCNGEMtdtERV
hIm3tRoq6zEvuhe148Xcpnpz9WsHtZVi2ieK6F6mrp92kwmMM0Ac7qXUUd6YCIFdLAOHHPDh76dD
D2n2Ts2j089XK1oYsq5jlecee5KnEXi2PL0upvxQkEXHgIth5QynyIy0OqWgT5+dX5/punV8dNzM
WMpRvomgn8bseJTXQBOJpOa4UpxoWA5EAm8ECnM3BeYLPtPb5aPJNcHE6AOibbJNHjyseDYG6rrv
pyLnrJ2M0npWMdE9+fgr7nI9Re9tLn20/a/S38fZkfvreu5/S5+uEoeuuQU6Ta5Vva07xdtGQRgu
2aBN8y5tutXSINmYbZevPtp8rZ1WXavpa3ma7OgMUS6N1O62H2226SCYNopyY/bTd3DgyGPWmsmT
56t7UyeMNZk9StV16Nyh/54vrSxoX0VnPoAfCwDhKGsaIDCpTnnRy67+8vf7+4+Ev66zRyCtZsFC
J2wr+/+RMMosNjmhaIJXhGrC+GDZu1rPHiB4NT8sp92aY619UX3HXAbC1q8lmvr7KpisLWT//JSj
fr/IAQ4uQFhxk88HBVn/lRWDBJVVUTeXv//J+uesiW67pq0T3LR0x3AM81PgzNJUPwzISn2ZxmEV
uVMNRISDkRR4Ptt2s2ObHC961fvVpg42Ft/42S1EanSvdlYfofYBN9egWJFGgDyVpv2rD15/kZqp
eu7RDLtXxvRqpWr/WlT8QAJLmV0arKBNF34mzmNTEdocDPy184SXvOU6GraJ9MiSPMiBIBV6fKvC
/F+gGrrzaWLiP+7YFiLKlm2QFSXP+HvyCBY9SIxsth+wmDDNpMxP5Gf82ciboj0fUuHnJ6+Ac04A
e/+pXVbliI+xsi0xc7RaEwOvv/kin8Z9VD/OzV2IO7CaIjRhjf5OR9z8GJjuK8QBYiC1MWLQYPvm
xjFqeuchMEGXA8z5G9kEWmvYM5NOaNPSKS/Sq9g41U5o7JCjG+7UouwR07gxo5xLKh33pl+1qLbM
J8iLKF4ZLIBP+Ed5ERhm4yXGOk52mnUbr72iN2Si5JgQI2TJCYwhng+y1NRGvkBmuV1/6shStNoX
cqDFo7IUGkKyVVvYyOnF0zLQw+7BTqzxwhdy16Yd6l7zoRxeYUzF9+/9FqFRFsn1SfYBYhFZ1pzy
BM8bq2zQcvUDDc8GXT0lWvmrJNvkIZ57Pw2WbbK3bgx7b/qo0/STXxxVtyX4MCa3plYUxMX/c5Cd
k4Pg/SY3xuIo6x/daoSkMUmDgSSti9+uMikbfX7zavNBBb8SaW16ceb3MDCa+Dw12bV/fw0Dkt9g
1tqCU5h7ZzcfJDgzMomgKuRFujJVb812I/vkqDCdqj2qqyMLlfld/r8+VevGfegZvz41Sgd16Qwm
kI10mlDQxaAxQXLvtQbxAyutcK8QN52rrPZiVF5FTxRfR4Dh1A0iu6ZZ8xV/Yf2CqrxxkSXLM9gB
4pJhlYXBNnEChCM7Ivb52EjU5VpWPw7yjApd148mleTDotViZFKaXjkDBEKMTWTOJlAt5SzbPg6B
5QdLvwiTA9Hj+IiGFw6Ac0keasUb84UskrVKNmijXqM2SE6Rn6GA5RTZ2uFnWFVRUa1TZDZQlUAP
miDXAPGt/emXOfoZfZfd1w1x634U6vq9WrftrYttkNANL1+aWUXopSw6/OgYHLh9e8mi6UTwJzn7
5PCQPTWdhdcY+vMwCGvdmvW0ldUcc8CFMY3xtQxq/6lixaK5ifGcTGMHYfm3s6zuJoUkw3KziYgL
iPqNp/kwAu579qy82uY92588DwoULcM7OQClt3FhB551M4RudzSLHAnhwS3eQIPOF3AKxVllAKeO
CAuJm3Y0poXsACp2S6Skeew8v0BdBkHZOAO9HjriIAeYJZrUCkGXzsFPtVjGqWd0D73LptVDo42d
c7WZSThfhxXCiYCsYghsLJn1nRcK48mogWbN3ZETg+a22K+kfWWtncAcDjO4GN4X0nNKoBxLqTg3
qKvMRjxLEjP8It4HdZHCy3Wb45D7vwgbYui+k08obvFAGy9VWZKeAoL5WhvTWgsb5Yrewng3usSV
CjCkuzgTw51AZfG2NU6yT7ZUml2ATgqspawSu7g1DMM64KkY7OtQ1zexquUvY1Zv5HdhDW23DJqp
vqRJSQpvNM33rxch5lWW5dmrpvNQ48qj7odgKO9NDJ/kmZkWI4FWmHASaoBKiuG7a3cYgy9wNd5/
COEhstc7aHTqeHVc1aTMllaFMILSIXmZGWib1iU8OcitpfteGGUBJ6H3wn+7RvX/M+bPj+A6Wd1W
87Lg4yMUX5j/8loWf76VcabSVUCuhq1b7ue3smn6jZta7fBoGJNzjZP2in1H+aq1+GN2aLRsZTVD
tsOqBAGziszgsm8JQY79yst9pYv5euximSGIB0lQiYDE/6ekGLbLKmOMtrL03lta/5KaRKbk923r
vLIiLWnZGOQCIdI/73nYO9RlAYb6wah6hDdR3VUrXdvZBmKcsvTR5v6PNjnOza+4hi5GJSUrhWZM
sg8JTh+6qSTymLjeoRPFfsymSN9qg2dvxpY3z3sdd5oNesZoogzJa9c2yUqvK/tQugiKmvV9ZCsJ
qzIr24dBmDI9U43G7jvui9oNVCYd0l/4XY4iApCudQcnM1mtvAcbSMtzAaxy09VOZV2SISvRmguL
Z9Gy/qiDBv/HuRoW+crXverBTyfjluePNd8M0BltnJdyF8fNgJ2eE3vJNkDJ6dqT5T3Z3rCRtTFu
3assVa2jojKGn15sIz+9kI2Klb6ioOXtPwbL84lSbdT51Pex8tyk5W0sG7sB1/HQ12HJ6pq39UO1
ZK3SF8+EgG2QAEVykP+TyHXvyFwaBG/D7rFrMiK8/I8s/AqWcMoHFLcy23wt0vBrEE3pt3CKXo0q
N1j2Dx43qAMCFHPIh3lAyHviMTRLprreBTI3L5fei3INJcaYX1Yb23pp6PwRHwurSmsLb/mxlEKh
FM8F2HHbqTXSjRNO5Z71uPNAmvhW10P9a2F6MYqJvn7R9aC4+GXNS2juaIPpUvBgPbpq5u/tsOo2
Zc+EU0ffZD+p52A9JVjSG406ezN4/Vpn+X9JEtYVveYWX4UbPcPy6pD1E+aBRK6yku1868sIe+CX
WUt127d2vbULV3kJEK+RAxL8o9ai16sD+urRQxYSoJkvqPpGtXTGyTnDHtavddGRkpk7Wo+EL0pW
yq3wau84pWm5slLTvYl6GC7okj7VVV4jX1b4jyZ7g8LXxufOtovTWBnoJ43Z+AzNI9w0oZ6ByKc3
LBBWVbB+usjeCs6TbWTPqCwNlwrbBLYkjIrDadqOvoIYUhtOz03UxksV+5ujPMl2/XWLdNuDUvfK
jZ3hJCs/GN7L3naDbiVPwnQxWTWeY+2RNKvPVYQ2yzROADvqedcURvrjRxWfqF/VsvCqI6Glf1Zl
b1gRcpDnNrO7Ulj6hHRTco+uQeLfDLxD6HfmryKvvm72py69gwaNW1n/0SfPUDxzrceWCiZkH2ee
Z76UQ10h2YHgHEBVQvYxCZpOWPskn6XpvELFV8qOjsXomffx5Ny9tyeuRdQNJLHTDN4tq+kfsr1m
SbJMawQBIC0lN2lTNItghpooI3YtaeAYV2sq+ws4WfwgImR1uxZgDeK8aztr7MN7Eb8a+yDrHsmY
LbabaOTwkkUMxzhnIzKWdYlVz3tbWVrnUJ2Uwz/ANXObr92OQNo9JguWr6Dcuih8q3r/zo688EfX
l1ucivNgUaRvKQbh0aJor+yMzWCRxxGKFv70ox69q1U5/RvuO9+nKtdexWQMqIIhcDcQ9l6gEo/M
rmfbSAom7CAgsLm8h1QPPc3OIcg1F+UgWar1Bq8ox0mXsk2poMwslIBrpPIaZBDCLfqdP2X3x3lO
j/VYEEz5uvPSYeEicw7XNPbXilUaF/a4KmxWTdtnbtSewW0hE2cG9b0SsFZ2pqr7glLc1fNBKy6U
lZ913Tu7KZxJTZLZJFlMvp9qx2AC+TPzn5oRawpLT/NFVw02ADQOBPugiRR41rl+xEIEMqvg8jco
qHUHP6hftNmfTR7cmUnc+ukZg3jlKJvkUCtAFNJD53T1MdYOcB7UzGCXRJW5EmL0ryJtJtyrrBFn
usQ4N5HarYWbZw/4Ygm4t7r/pg9AYGrW0IsuLlYxsj7f8iGeFfg049ENET+UV6p87deV8tmgVbcU
sbWUyjwT2srNMDg7cyVhGXpO+ylB2K0vw01tK7MvAj12YkTwEPHnXIKEJGoSNTsK6WmYS5FWpie/
qJpdjgPheyn4b9un3tyv+7UKlR90gHpwiY3CvpmLgaWqB8XkIKvyYOpOZq3fB6FsaAqMNhjqxJa2
zLUivOmQ3kwcPXkG8iMOjtHWK2FBdUYvA2WwgOgAdLX0xkl0fFjnDvTQilXvts6h9AP3qUraZWIZ
Ax4pUCSyvhs3sgrua4+TnPmAt09EuhgCWIL6doufK181q+88rL0vmLaHyzSfBcoUvdpkSZidkOUF
y4zs7rac/O5Wc6dxGQSw19WE5IM+R5j8OdbU9KGxd7Lq+aNJlpyyN1bh7GaoYvijxalzwpHcYdMP
bw6lOXMp5qpsk4epYOWygHOIRaSDOB+KQbcVAbClRj4MId0CKQVZn+b6UPugmGSdt/h/6n5aPRtq
huZXpr6o4IfTSs1+skFEtDMz2S8BNAhiw7oDK2xtAqcIj5ad+ufWmRNOSlM9tnmG+gXKvj/atySJ
85+ZAENaVcJ5VJj2AA4kzdnvK3HI7TTeJmVb3rHrROIjLZO3DsNNeZbWFVd/ZLYCuOctmVq3f4/8
CfN3ehJZQsO1hUpY2DVNXeV2+j3mRYwy6By18L6Z+Sx/MOn+MSXWBwfmp6j9+i2Np/WL2SJzHWGw
vozD8yiwxtNqaMWKqYXXVgx7nJCw/Cs9nRVZfgmjqt637kq3i3CbFnlwF2R3Sdxcc903Dqpi6gei
BRi65EWyDLsWBIwBKYNdk7HK1RHVryFRmTq4HAxaND437bNmKMaqGdFvI27XbKGfEE7WKyg1TYCt
hXawZvCNrcKeQlD6RWiIa2X6S/QD5Kx+M+WPmNG5IH1QMBbkN3GOcrKTqnnaNq3aR8WdMCrySWDC
tTd3ZFPTJcRK5WhH9wQ9UPUWfX01R5y4vA46UoiK9FFRbVLuKKQuMnxaNynI1FXv4U/lBMnSM7V8
A9VN3fReom8m81triGzfEWpZ28THlyZCphsi4MPSrgrW3ma796Yw2cHFBSszgRuKzXyBRC+ETjzU
lJA/uc7J8cQmGs5puRjUcLrvEY2OFNwbx4B3PvReNEVEbK/BMSlrgHfFZtQdsYiDntR93JQrFUE2
nB/QklF68TXOkezrrKxcZ76XLRSlTFepL4q7CDQgkAJxRsRanBu4YLEWtjgyBEsUboYDgGP3iIMh
wuc1RDJyhsF9DGlymQyCkCO+boAQy2qPDt8KPUyS+VGzn9CxR6yhWFgDEYNoar+laqmfgM+8+YG+
tQPWTFaZR9nC68byQDTcb/z0lOrG0xBZ+sFvVHsVm8j3smrxl5HmNnhHWjU5lgd2dekJMn96Kpmk
xwDR1xZGRhV5xX1gFA+m2aQHMyRV7RlHwtdXZLGsF+befeBg7o7vuBNk51y3oudKSbaa3feYWoX1
MicdeWsApusqY5EENuiHIsAADgc9mLLRouu65txahwkYxHpW89xg6ntuE2c6BzkAFcUmKw6F7VR4
uMyqMNc29mCYh6KMnvLU68/eSFA2RjPD0Spv147i1mE/umBKdvbIliIKLYZ7LaraizwIG+XEocyw
4AsqQFelqh/1sQYqp9ungmzstQeJshqtAPl+GxtawLbL3psWjXr2S8d8gqa5cILgWBLFPiipMuxH
t3tN4Y+fDTGAjdb5GXUArkuhYyzMjh5wI/jJVVchkOBNjtgOrGRXqbCXoaJ/U/tyLULB62UchrOa
pTcN3EXc6cHXQpJHHmPUm1WctRihp8GagIW7TXw7XyGivLIG/6sl9O5fpjXt95gBsxpUAN3UTMDg
UBT+IF0SWXPzGD7a9xR5rQMKgNYR/MgKV/MIi6AEdSasQ7xFBkt1QfDQw4c7wWBbOPAFTWf590nW
1X7b/Mu/BpdwBFtdVyP1+ZlJPgA5Fx2393eXNTEqHG2FnXT+o3OCmUIzNqvJcOOFFaEb4gzOT12J
v7VNM5za3p32ueFsS9VmBU0Qa8dKZTh4SgD8qQntjRaUqJxPaBu2XfACIkm91FNwiWtbA2rQhee0
Fcm2xRfCXMvNOMaJz0oeegtRRA9hW94zp7prv+hT/LUSc1up+nOYYDsYGWiIGVaMhtkc7o5at+Xr
QhKnLS11rfndPk1rsQxMtVuOvlbhHGVDapmrlWUl67q3jz5EJFwI0kU64E2IbORPtwmDrRk2ryKb
EPor8rvcMdyD8LVDHyr3KFVFTzH30EJz3Lc0R7pOH1v1CErE2GU+01muJNHW9ER1jPx1NaNs2/an
ORpX7k44WVWyHnvUTCsvbk9CbRoQni4WAmpxbMq2OScp5sCWn7dL1HPjRaw6IVEL7QYpf4VsQohv
Zj1OP//++2t/vGO5E+f7EXS6IWzb+fSOzdHttEvTz75ntjrcdJVbYPbkGf2SLMN9HQgW6QUxXjHf
nUWZB7emE/0LP0b7PQAl70HTNiGKE0fDFOkzNh5tvsx2Kzf7DhBPPOcjCEPclOxOgaLW2AphCGj8
qKqtC49v1ujM4idOMvY2YI2Hc1B80tQ4PsTgTtqwG+HR87b7+9ck/nhM5mQpoA6eFZ0c5OfEqabY
9QBPdvqu5ck3bNCaE3CHBDm21AfWibSKzOaKuDqDjNiyZfH3wagNa2LA4IX73NmEpnhDyb89D7jL
oqUyKscEEn40Zuqq7ztxmnp8NP/+Z2ufYnt8tUh1qzApHaG5c/LwE55Bi9l/AQSyv4cVz4cam1/d
thcrnPpQ1fD8cp/ZFpiSqXkygzXR7j1q4/qX3Bn2vOtgwWLcx1u76C9KVywIV7qH2h6TReQg5o/6
/1LjtmLt6GgPYamp6zHIdwgqqaum9o+ag1iDh+efVacrDEes/eBP9YpQo7PtHYJjfZMgTJJisImb
0ayLnTx7ypBt7B754oDk7rEEb7kuPQ/pEj/sTrY1kgAh7wrHFw/PNo/qRRmNb5lBMjCAQriMlbFd
j/5gb3LTCdi45d2qjroS+uDobvxW3wS5Wd3qfZNCyk/s9YDR1cYzjIhXuMvyzvR7wmFTA0FML1eV
4TdLr2Cl50ZfYdIFdfmmGIZ5LhMWZIqC363m4LRZwn9f2FE4EjzyHuCWufveCH+2LJSg+cjF5jDu
0awtdkXdAL8lTLHlFasdEJ0NUdn9pur44KKooVcdRlR5E+ytOTllsD/FLjLEkjEw9nXvD+seza+l
a5nZvYuM+c7t2h8m2oMpqwCh7TQYZDdFzdLuCmKHDZEK0PTgjSdXFPEuKHttMXZGOBFeyJZmmSxH
vMJvdFvBh7VE/LFX3SBbEOpXbsPsJTPI+GPdoKVHDCpZTGXayu9/os6d3te5Ye2Mrp6WDTFb1dRu
UISffYGg3+VTU//Lm+oTg+b9VjbQk7CJV7vo1H1iULWq5/Jc2t53qwoDlh9dtohtxd3EQHY2mhq2
ZGm77mJZZncxfA1DzMg/5gmceeaWzWB0993s0AfV7yHlR/n7kyZ+x37Jv44AOgwfTZC8t41P5E5N
FUmVlkX0Y8BMERcMbHp7Nb/lPsmxeR/7nbAxHitInSwLwq2bRKsXeg84WSrvFxNCVtGID4eebHTN
qjdgFIj0hU16m6uZu1anQGymeXuSxX3Iz5/oayM1sc3Lg+eGKedf/jt/zHc2yQXTBXCgWcL+Q2BG
F/00xUMf/+jD9gpsWLvXXODuFQjjpceb8v8YO7Mdt5Vs2/7KwX5nXfYNcOs8iKLalLJP2/lCpO00
+z6C3dffQabr7G3XQe0LGIJTDSVRZDBirTnH3E6yze8ENDR0Er2v6ROONM3VfGExYCsGqd5dp1Wv
oytR0GaOgQgy7R+d4cmr3K9TNNVPET3/vxOLeL/PZtjxhk4nxjBcz2Qg+XXFaGtJV3REFrwrEeCb
GaTiUDnPIk+ZKoAv3dmjPm5iJayOeHZoDyGLfYQ2fOfk3qnUbOu4LqZ61bgo3YherzzqA2lZlWS9
o5FPsYlQVzpi6C6GVh9TCod7zY0WYAnGGohp3qkdZnVjhN2eaKBvE0qxL0bmIlwR7SUtwnZPbTh7
KvqWshmDqZDjp//8y/2mYFsPRNdk8eaqlo7W1ftNLzMXEnLCmKXvbqF3gZfZEVfwENt3594bSZ2d
7VGzA7xS75NCUJQcT8rUWedibAPcSwCIh/hijGp7YxVxDd9a++wQXH9nuMqRxMJeEeYLZl/SIDFr
bFEvJpumy3ufogrskzRqrnMZvkpVMkaHLKrwuT6H+HrOrYRF/p+/K8fPv/3e6H+YtOguB6mt2b+N
Ce1QWJ0bleV7blnqFiXtcMUN7BG03UfOMWGaeVsk2RadTHnx5ujRFPGPsJl1P1N1a5ebXnRZbyqP
0i7kHmAPFspK7FaplNk9I294rN3uCxHM441CudcVRZAo7ZVA5RFQBeVR3I1Xk892ZwIcSji2Dp4Z
kWmfK+bdSLvvmpVfEufIdTonzZIcB6gGpWdsrNrF7qoaz40tg5AevZGZ2plQcrT8olch7ZISJtHN
lNjja4dLI3WvQxilsS8JDdl0Ubk0P1hizQ9WUW4m01YINSlApWDQuQX7UN6IhXoUFV5DhD1AcLQ0
fDBLKi/KlDdbWhS36Berqz4+CTEnB5acEXV6G1N3UdakDPe5jxBc92fjmSkhEs9ueJe2PHtNS5YP
Fx9g4BuaitltzjR6MyNoDVISTzbFwuG3rZao4qa8Mmf3zq5dJWeaWNVGZKZ10OJwPE3u9GNMpE7X
odRO4ZLoGurleywbUBfUMTeEBow3NSkdYUMupYDtNzKy7yxmXVjkKHiowH2WUqhpLRW4vnc2RM+c
x74FKpbmL7bZkmm5JPDqLjU3NEN4Y7RzF0/dxex/0KAXtzmToQ0YkSOst2Fvhm32gtD/FLbUiKvp
q5sr0Q0jeLMbI6jeLdK6TTrBjqA2rp6t5QaH9IaE1vomCuuvMIreW3zgB62yroCdzQdTyvHgQFMd
4NLe6gmSytEqvpWyvZg2VHrhRncDOVt3wFL9TiseSI6ofjgRl3b7Sm3f+VRqs72ZaD2cS1W/jpam
P05avJ/cOrsbWGPCPJvEgWGJ+vYQD0QIxThp0esd7ITSP3hS5hZ14QUpM5MzivfpEklKVbPrdXcR
+Wd/M6N3/m1V4diaZVhcDB1PQ2/42zjck0zJUWfKd5v4GD+LJ2ZxBb4s15OMocyAbl234YDsdjpZ
7vUmjQCe2Fq0jQlm3NvJ/K0YE2ufZwDnUwvw+CtVD2cDJss7ZulSoWLlxOX8hoRIzCCg8Bjiogve
jE1mlwPpL6G90Q1s0tEwuVstmsD3F8N0o3avWV4eDESfDyACKgIES3mBQWLt0kr7sVJzcI3syS4x
jtZIDwh8Wfal6Pp8i3WMq4iMWYbwXkORWDs8Mfoe8wDe0CipzgNQrWzJ+yy7Vj7KVNf8uX8q6HzB
XRvTQC1BKMVz+T66KI3ssRf7KKShlC2HcNgm1z7tp0tiW3dirtuPNcz/+YUa160UuW8VWDHEYOK3
P//7qSr493+X1/zPc359xX9fkm90JKsf4j8+a/9eXd+K9+73J/2yZd7956fbvom3X/4ISpGI6V6+
t9PDeydz8S/63fLM/98H/+t93crTVL//84+370VSbpNOtMk38cfPhxZdvkVp4y/XleUNfj66fIN/
/uG/5cmPqiVy4N9f9f7WiX/+QSvK/IcGxszBxG8almWyggUVuD6km/8wqU2zcLVZHaL9/+O/yqoV
MZg+/R8qADQKK1BzmZaoVII6gkt5yND/wYrbNbl0EaSMX0D741874Cf+7+OX+99xgPqv0x5SYHhv
HaoANBjVoOhn/TrtwZVb1Q2jzBXfnxdolbqrF0dPr9bjPqrj/rkyMTRLM3G3TWJxzSJ2dqOJpCYy
Qj72IUdNoebfoqJCOefFeMbLa2LH2yYG/7co6VTwy6E5vRJiwJygzfvj6JkH/IDPw2JnLFPsjJ5w
7d1ffoifX/SvnENruX7/6ahYvxh6ZeoSjqky97eX6/9f9MpmOdWZF0uConSj2A9e6uvC/DYT03CI
RVTesEaMt1j/kM3ge/ap67k37TBqJMOZ74Ku+9kb+9uVuKFry3kPgXPn6r19aWn0q0Mr75wER51n
4hfSRqqgLdk5FxIdv/fMsw+Ajh8qR2pPTlG1zHI7oKlpjYTULcXepu8iqng4txQPuP6KQCmbgfyi
EjixxDmeCSJ0R6dz9tNE85OJV3g2QB2HCpq2bmmgyxHzmueY8RkPXKkwVaNZ/EgDwjiUhOGSedsm
f7NPf8PyfexTCgF4VBBWq/+mATcTJ3ZtQpev0czCqZdxsvN6UwaRcKInVPG+RSTIaVW3GYmS7Ms6
fRXV8N1dCF4QyXUAOVSlw0y97WmQHEQlZFDaaMObFL9eaz2mNuHZWtRu2NE6CRCI4lsa91EuUATl
9rDp6748R6MaRCZTQ6yJM/UtdXjKKhLUENo8jnmMiyDPCGADQU3Wm15UpG5zzWsgT2056UhCqdwc
jEa4VSUwvm2joZuf9EF7Mhz2pTffubFdvEz0VXunGLbCquNLplW3Uy9PdH8yP5lmcYh16yFL3PmQ
xgDadAGqWzY3hpE/JoU9nP686b2ECcuUJn+3rv33k5c2tOpwlNucw9RLfj3GnYm1ilLn3ZXuXRbN
VPuRULLrUoVEORlu0hDcXm9a9mVk4b7P2jiwQ66nekzdsE3BmFlXKUz1JhFlQMba3hNb7Fjqy38+
F39d4Foq7CJHcx0Da5O63CxFvL+cipYKL6tm0nlV4Yue0sy6IGuzAisekq2cEF7+57f7DZrz8X6e
yoKexpfm4az+9f1qjv+5aePqukUqEN8qhCAISCbUXKxAazXziu2vDBJj9h4bTqiNykTH9iBeeir2
SGmqD86DMXnRizDU4qgOBsOZ8zVt5CYXifICGBK5QxvW+ypUiZJZKEDVXECa0R2EYYRo/E2FYB2r
/jqWsfcoIVo6yijbXq4mv34hxzFwsKLRImLZeHWgCp4JMCsXIDopXuCb/cjO1ID2QY/IpFZuDEai
czuzkErt5iHBS76FIh4IjRcZE6MhuI679SYzvXcNNcrRSDgFJ4DilHHmiHj5UsCIaHe6bBnZNb6d
U87DbiBoJA2bAdJOC0m46LXTrBjaSU0ac4f2Lr9SZoGXT3npk4fpk6b4acJwSpdHOsyVc1duC0Fd
hd5431NsokaPeNjKQM4Oua8JT6XLRzMAlarhK+iUxZJZqrQqxTRNX8q0CXGEbqht6olou8jOu3NY
lcOmNkX5NzUBa5lr/rbfmY3qGlUB3Vx6yr/ud9WmSmwR03SZyD5aEsU1xRruXav9PCAzOcd9qvsD
opmtHk/fAe+l70ah4VCrhrcmI2S2pZl+S56veswGBbeP7oQP6aRAF16eSzocXJPpO8vFq7lEPOt2
iuHbhYTjTmRbEWRxR/hhxrorZyQqbfPN1EJn49UPLBiJvGg7L5j62fH1ZrpL62K4mbOZQqRJwl9U
ao+Dnpk7LEXmgbp278+NWh6QXjS70hzNQ4LmQlFIDhnpacJhLheAHYqxsP3SZwQ15UZNlrhzj4N2
/OR2Fj7kv+OaUaNfDt1fdrFhUnVxbG9pIi12nV93MZKjRG1jYVxEEZLvqeXa2QPcc1a7UW024Kf3
+Wy7h/WB9WYEpK34yvKcFs1Bs/vzNVqofKuZ/f7lrr88xXLQqGBy44V/bq3vCnJcqa8B8Vy2uz6M
S/1f//145mwrik8bxURTw/p7vVMZ2uKo6Ajv/3zh+sDHW64fMKagufNM8+XjPmP9BH++OUQKfozQ
keoROSkGuf/lO/357J/b1b4XkTudPj7D/3yZ377Wx2dan/PxprIublNtq6Hq3K8Lz2rZ0+sTQpOQ
ko89vz6y3kzr7l//a3LKZs015hq/13ptDsIuulGM8JxouncAOAU584KJnrhxbzSgEtXhTvQSMAnz
2Bf8oj8gNWfkuzxPyvCjr0ztKDPwDeb8Qx2FvYUu/ySy+C0fxUxGxvi1XkANqexTf8BxT6L0WXpq
/RxK55p2Oobtzo72c1t+0hOmq/gsL6VUg6TVoj1dObzqyHAk8NhdWiqBoYfGJg4re0OYRLmJGqYJ
UOyvuj5U2C/vB/KY/Ihid5LDwYDpitgBU98sQoUasbmJXFIN9LDFyqmi6CwZRmXPNhLXqXw1fWd2
NvuNMgPNSE40o/xu0O1PWDKvdvK9Sftrj9vpkhjKkZ9N7DK7RTSm38poYRKnLExVUcIStMW0Beiy
LzgNtqXnJnvdqB6IFeeCZPc7Tt9XM391C4on1gSEMeld30J/tG/MuPZTE0r8kk+cuHXKxly/Vgj3
zrL6psoaO+iSmEw3U/s8Q6UFcHfKSD2Ioi4+K1AXN3iLApRV1GjtNujKVr/BANFwd/Y5C9VN3PWZ
r+Xj99SqH3WzlXDo9Ic0ai9eQxVr9oqHOTLZwV29R3od73PQQmX4FHp1uMVt4lcILkvZf8P6sG2p
UOyFBiZkRKRGMNBrJmo/rGpjL5auUEy2t9u1/qjY5UIM0M4VvgJd2zKoJMACD0pD0zu27RNX7HMm
lXaL6QV5gtturUxjPzj8eun4LWnyh8IplYvuMkpWpnGonXEXaYp6nJym24KvSP3SJdE+FDeFrOgD
9xYOBoJtzdlP2kgcSA7h8h43N4017e2pD4+ySXGnZCV7WszT4s7VN3qHzG2WKbObgqE4c561Bnv0
rEflBi9XkYO5VPROBs5coVEw1BFtNdFrjqJvikGZ/FkffzhDdsrHF9NKv9uV3KFQ7wPLTOHhV+2N
azmnSs0gjQyNu2sGGaR6/9VwYgC7Vu4ryYPgOo82ULspm+yxVzeAOqndmLThNIw9G0rtoaKdwbcg
OYmb26E2/TqWBCN0/V3b2C2ZUf3zrFZ40GrYXpVt482tr4qlS2JosTAnnTZcnMjb9Q3EfS/UAlLN
n4y+3tNrjrZdVcPYVc1qKxLU29NYYpMlS9dP5/z7jPKfxrwYglH4c42YqUZVzqy7vxKykQGUUfHv
IrZcJCrqZGOuApZlE7MLThiFXOZGp0GbdmXqQJuObhmw8hN97pcJNxgrO1DRpW6cJpTIAdjaE1If
yzcdSLSJHd2boFI4tdIgDt8KWyFrlcnGjrD1Hat1cVKneueCE7r2T05KUBVEEZUBES5iGfozEgSs
hXIIrDG9ys7U/UJSF0yt7qmhnr3TZo3abjVsxqXGNJb1YWZ+ickTGKY279LUex7sKEUzWNFpJhFK
6M0XjqGGzHfXPRgZiierIBSsGWYKPo31RXHZf/ROs6CuM31nLqKGQgJuI+CcOmgbUBXTSKA1UXB5
uKvsEqkTmeW+rjTYnzz3fehwB/MJS9CJzpnl0FeLQlq17OnEsufAdCniJgajnx2hJzf3LMVGv54J
ejJBkyXpZWzQMFIFVxkgofhXCEnUaTLPWMGIgmNVNKdmep9j4O71qbvr1HRLdfAoUYHzAxjt3rbr
bFsDt8YW5nngmXC5ibTypche4fADi9b9zrYzPxef4i47IlF0N62z+LPGjKAvKa5Y4qtG0Y9jSKZx
WttdMMyjto3tezHrbmBMLBpBX57bqSaY2nOIXc3x2eYU4AC9bpymUc79Lcpk/VwALPaE9Zio+T5i
PPTjNoMHExbzRqcZWYb5al8jhYUw4TAPSwS6r9Lrb3SJO5882ScLfLcT8gvPNFfdPgY8HhIF0CFV
0xun4suNjY/zd9z1xhsnWL/PAb8QAYaIpCXgB4rNPmZWTRxl6eMt1bZjFu0LhNgjToXt1EpAlCl/
tk790mTqw6aGtluCIkTwiYDDw2GoGPbnthmJHxNBXcx7Gepyhxtg11TAQkA9Q22M82w3QAXdmIlC
TE+H5lYZJ6Ii3DIgS+qI+JwZtGE8agr2ioSsmU2NDQ1zv3iSiqEwsyFtmWqrs/OEh1CfRgKFiTsn
HR/Tfl78dxe1D99lmb1rsovplYwHa54LH1HAZ7XUyo0Wo7xOTOhLmBGsTTrKCzG/7RZqFKZZScfX
Kj/Zbc0gzUEO5glxXLvYaazmiKq481ociqekNsxvQ+Id6KJon3VL6QNPNYdzH3nKtYQV6q/PWG/W
P7N58Y/Z8XgOrZlm8/Ky5fU4IK1vbsR79/OsPIiRejoQZmcfZRFKIaH+WLfREf2qVL381HA93Zmg
fU+4/RQSM/PSn5dtlO59X+Tiq51mkDCoKxO9V3U3uTTCreG1ype+aIN1W84ML5xUdPdeV8aKzlde
7FEqVOcUEOOGDuObo9SwOlCg29QkPyumhlVTJz2KsstwUdR43NIwLV4VKvzrU9n1+UZmEeWRuJ9Y
vQ04BGfSXVqTQ/dja/0lnbr8m+6gcMuh19xSMBaw1pR+p1FqeQ5r77O1vC+2SkJ4nPgzCqQODUMU
EzYrrEuUccmoTQ9iVgTMk2C+76PTEF4vG+rRfXseWTUHU9h7h77XtHtVhkvmJE9TzU+GWZtfp05R
fQMf0C0qCu1kdYJgALVNXhzdfVmfaWGmTYtY/yQjdwwSFIPnQumi66J1Ncut5vXKa1mgoWus9rsb
JaT72Eb66LWtstcnImEdYSv3QGjAEi3fxUTRhYS5+zpWnkk+oRvfSqfyTvYUZjuIi4IVvPu07iAt
b+64XDWfcqszAs4D0tKypr1aDgDGStXbt2oRrS5brW1a0GZVWQ81pi1ilmiGlDJpHnJjMZwuT/GY
7dIoCd8UC9Grqynm1TPs7ExWnxI0UEZfQi9+XJ9K6vnDkC5lAxKNgra2qnPBcXdtjUJhqibNN5F7
P3ekS5+znMv+QQvn7uCSgnDQBkHCTNWDV1reeEDCC6zDIw+MbVhdYa9RVDedijtCTEgEYrWovg3m
J5JI9beeeOJt07fq4gkX4AJZVK9PKJUzjpv8a5oI8lKUFhcH8X/Xic/oh5NRfvMq1peD9hXaZr01
zaG6TOZgXPpKI6FmeYvCH3sOONXWUlKwBbBd2+kug8SwiK7G+eoOm4+P0kqqqwI/okv9/aLV6CML
VEJbpzPym7A/rM9iymf5gve6VqNiIH3lCaqXum+T8rB+HrLtVUKLEvWa5aa48TrL2CI06N7I9vl4
oyKee7+qvPA61SQoq43jbUthua8OP9b6JtQhsGK5RXPL4EnmDvEbgSC065WG/ce3tjzykVh0arc5
y+mzgMYexIx4X4AnfXztrsUazA6K72BdFOdiGZqWxT0JwRVPZcfMgp9H98LuLosM9zTnqh5MZh5/
QWe4W79LiNFwo1f2IUmVhLVBM5/6BKUGB9P0OR3N/bodgQ4dGpyd3VtTCwaLa+7OtpX0cx+VuK74
jVD3IUlI2/G+0xXiqd0ZekjK6cX0AN0Oz8giFEMJp8T9jGsdG5060qyyfQn/5QUBn2+N8/iWuJm3
tdQpOTdWpT+Q5PNtULLxjZNHpR5gh7duzGxfjSlpOMsLUKzcUJe0nnPdCA/QQmDFxvrwqnXn9YW6
lY6BoK5x4nqeB4YadzvbLZ/XB2sy+yigAt0aLFdcx9oqPraaZvPDMKjyCaG9fURgZMJ/A01H70xn
LHwjr6fYSTVGgZGroMMo8K0fX7Vxx1HWMnC8huOtlifWZv2YfT/iNXayR9kZximpkAGu95dxzSJS
QOyYKmYnJeYWgIj6y+yYh/UjVsYUwYmftJsUc90dKjjxsUU7cxPmerl7n6S2fu4nxup1kwDkFlB2
/NkdBXhepZ33qmdnn9XE3K6b7Md4AgqSaAjs2/BeTEuKlc0iTQGDdAenkXCSrtHQXyUGuUMDnvvl
u491fKTMM79UpcX6TEOdhsV9/lKrTO3lNN/R5pAb2wyzgMxlHe+hWTxKV/ny8akgKZNdWQ23KoHD
2H/oC6wPdBgls8gpn/vZro/Cy1jjjjJ7E7iol19ezoMVNOCBjnFeYV/TQ2rEevXwsXc6icM+qgn/
wct1xX4Vf2y11eQzSPLw0dGG/DQa+fDxA+bKGVBN/+pGjdwZRskhM1b2s9smLE/5kgooOX89xGSE
+Gw97CZAJK96ulf1+NvYc+mOtGw8eabeBgbXdqyHzgajBSHGMq+P6OVfFQ2JXGFYzQUeDlOTEv21
vfDa68yGKOJMMyNhz1VVQhm1oPY7hkBoxWJVM7U9iiLEiB6qCWZ+7m0q5ocF3XKpPPhL5IKBXMYH
385fbTgSEIww3RuDbfl9h5HHG+1pS/vl1XFJve80wtYLbO3PlesdE5hzG+QDxmns3UNbsgZMHIHB
zGBVHZmQSYBcBtqs949Kbr5SxsAb5lovkhAkX9f7/iBtoe9ih3O0s2p0oX0rTwSuN+ewceqPmwhO
2MahnrT8aOXJcRMn43jiv6NlFSfZE8E1NiD4krA4/Xn/789bn7zeGFrx87WjNGNUqeS+L5tbN7A+
Y+4hcbJSYfN/3skw7pEbYJkbaaZgsjFIVaeMvMKNWTt+r3SUC9xuurCtyh9tJQ/6jHRnB71GkrAC
ihUx7ytXvCTx54IOFxPiIt+2dl+fOmnWp2a5yaTKXJe4aeJ/suGkhd1wGkTCzlWxD7gzoSfsIhxe
b45Qp6PiaeJUtTkcLIQWQS8xg9F5TLHS3DqmtD+e0E+ZOGWVEHi2uVn/l51VilMHY9Qfs3zwLRx4
J6G+V4rCF4rxfZ/Wm8lrkL54SOCjQd95gwhiWUxB0vSfky6qzk7CAiAE5+vgiQOYcVs4xo0Ttd1+
3T2cZV2gZ3hLqqwNN7bCgiFtemCVfDmqo/UJPmSh1owcRI+ehPk1E2xVYaWyK53kGTMV2+7Ek5rG
o99lvID8SvaVpqoznmXtJtEqZbfetz5adkzRbaPexnLKtuVIkd5pG4D/zpaJQlQLEq+X3y02Um9b
1aziqrzgG8+pQliNvWc69tRl3G0QWx0XIXECOrrJNNkWiz4ImXaglUV3cl3ZnerJ6E5VxIW3KhHR
h7YMT2EWZ1uqV9bH8fGxdasV1Wl93yLRPD8dQc3GpjhqYXroaBkeZk0SmspQRYtFzVksS4ncipJD
mpD7Zc2O4uN7JSZctPfSLOVejWmkpjIf93rn3NjK1BbowfFH0IWmIYJ7eze3w0tiJjunatxDFXk4
9gn8EVZyitW0PSFcBMHYjxQh+8T2LXdEwLP09uq6YvxN9SnQYsM+KWP4beg6UAIhAaDQI2ivGcT0
lDUcOJuwlCba6uPw0i+nkLqcMp3S/PxfS+eMEr8ylDs0kX1A2vF8KFuDBG/PvoT5DXQt506pmvg8
6znzw7R2j5KNXMg56v0cZuKubRTW6allBqmTpNsEU9M+dNoDbjZkWSFoS73Ppr2l9V5gkAtHav2c
HqO5fxGWnM8iBYtadmb9ME9Ntk2myL5YCPV2qaGg8pW4EWlCOruwCo3TwjIjS1tsvGlkbjGGLI25
NPjepOB4M6ry1pXWrmwoEEMuwaLQJBt1eorAz91liOUCI8+rwFLz+QGHFyDzyqhPraRmm8VpctIm
Ohyp1UDNGTTtUBeAd2PTg6lQOzt7DhlOHIsIbtlU+b4zsnPKEvm03hSjced1qsZyVr9xlwEsThnu
/rzBUFf6Q+W1fB3lW5Qlz6rnCp8JGJahSr7YJDJjlafZQEHEUZsOVx+nvNO/Wm5GvCiow9jQm5PT
WSzB3fQQEz+iBQ0zf87rHtlunLGDdK3dDwZQLTHppz9vKhuNwNyiIlWK6msYF96mrKbSj2334/MP
HWfA2OfGRuLm3NZJKk/rDSUneUqcF6/qx2PHCQrfJ71NyhwdIhqj03oXfqqf/+u9FB2GQwa8wgmY
jyOq+0jjNEyWG+S2SqAC6SakId5TrbkrtETlTIzqbS7DlHJwF+dY75fj3CFJk9FQ8ab+ZCmGLzBW
Hwd4k2cL6F6WVt6GFBwmRw6X0Sb35MfN+qeKhiVHocAjKuVzuxoqlO18k/WmMBRrG5blUuzC3b8a
9uuInKgCSxWCWXLEyrm6Vr365LUMhHHIR1hvXNX5+T9YPD//x8YM/Ir08jPCe08CYttp/Z85hn/9
c31ArZ1tkdr1IWrs6rTeGF7CdaWBnmoSEBrD7T6tN0XDOBYyY/v4c73PzRQ66zEmQaXp2lNo9FwM
0PNuYtcBLmXYzzKyZ1qgxoStmpdmOkMJ8eywlIpm9CGyjFi9WUkuDiS8FyCpxiIqtnTdKI26jO26
OlCGpgWKcHuoXsx+plBjqvehKA3mEjVyMS2PN2JivIiWHqwicNPn7dIoZV+tNzazdbgDCTTaZZfI
IsMrnKP+HJejYv0mWcs5FLJcV5UDyDFswkn2psJ8P1t9tG0mbTjIZZxahy3J2bmtqBnSCAnvKK9J
MEZGHkTxMJ4s04RsVFQh3YChRMPvqac0LaJj1nU+SyQG7cLhVMN4DOp+/duTKXQBmSOTTsutSlXN
NxHjFY1Xn2RbBrkRci2OdQ52qRs5EK2o3JHl9pRHenWalnNlHQ7W//12X2RzIHqioePKcSFF5QXA
DoYLDJMU9EMb+4tF9IZeIcHTmlsBJnDdDcyAce8UqqC7y2JMh3OSlVmzU8fUvcUEvpMsc9/oweAm
9UyLwjSEgCIMh+PQKDcNPWkk0QnBe5CUN4URHWxnzm4MVDynsOl2yRg3r16hXxJarCj72vHs9tj0
Ab9Z3ohAdvauJRqDylCI/CPHYWuQl8HVyFMx82ndfkqi6XZo6sm3hVJugW/oFAg9uwk6HVoRqoSY
Wqxu3WgWwKnMju8wAhS4XiAMbGPMTkGdLssVx7qieBnuIcyrweg26rbPh+HesSyWUZoaHmIbRvqs
lHdFW1Ilto270IXMpHu0bjBQbByKL581zxSbgnitTZqOum9lPWYqdGIbDdvsztbz7MapI3ACsatv
+yLynvI+/d6qYX1Z/6IWzxSwYlDJSSn1O88yP40LQlRxtFdJjnxAwBvqC71IPo1mE6z3O3VPF0GP
NXANWfvSFoDBqtR68IbqSztF+tbLDGpKDVx6fUIAo8/WU61a7SeTPv+xTrR8KwE5fqq02dqOERTc
9VE3U/3GynFh116564oIhHKuxcpRrbg2O/3UfnLs8MR03vvaAFlk9jQHGUa+vaqKmFLOLimG8UFc
MzvtbtcbA9My4onRO6ZNhlKirrQ3obSIBwrrKZKhZGHAxKOz8ulO0m5n7fHSCMV9wfWaHIDDX2ik
yECpYv0uWv43EecVxMlYHVqz5NSxRHbqMnO6j8nt8HWLfMNpnqot2i/BrgaJM+bptOlTFZkb6TUn
oh4rP5dTe1SJ9zp0Zf6OSVzdyLKuX7w+o7eRdBTbzFnZ6gaiM5Jq+x3zBgHzO0u+9tGjl/WHqDbU
l9FNTt24+PoxXT85+pgfS5TTPgou6sm4NTvF4kM4XEY0e0Qj183I/kZBLEI+BnaWh5s8zbgUeoIE
lqaQ51GrwncjQyPfdUiJApz4x4FYg5eWBgcA2vzWnFNEX6Nxtb3ygc6U/pTEhniyE4YGzNUJSZfH
dpTdbcm3sJ2pOAhycPBhc6YTakKcA/awiVbXxGv41bjUleilc3kx9Pay/qU5iPYUtaFz4wDSMWCK
GASm3x6UEWwdYNB9O1fF12Gx4oR9Gl37fPzSjPV0Q1uU2jcArSMJPuR2LzdzP99YKXX0D/oeqz5f
h85OaGMu7tA++RJpxUZr22GbhPZ0b1hzfezxSm1CA+5AhViknGho6yFzz3Dx/esUKzcxbEOn1uKv
bsdUImw39LWJLYA2th27zjqFxBk/AQa6s4j/eo2WUgKlyvqGBpH0ncKzd3VmqbQ+pumbm0Olm+P5
i0e0RoBDtthGriG3UO0IwzQn8SgKOHOymZNvJFJu3dqx35W0GbOd0g/RnumZe6pqElcMClwIIKMd
SI7iNEjVu5cTKnxr/KSRX/bcWGpCA5ELgR6r+rMVNj//XB+lw0mT1GKqWKHXf7RHBudxMj+bBixB
smSRrCx/Nu34uW+BnOC1+dFZ6nztQd9GvZffTogBzi5AK4YNKsCWXWS3VC0L324jeqXJRN2E8q5q
f/MK2vdIPOInM6QRQJdkOkSq6zzMGkyoNq2ajWnMw1O5x9Fn/lBF/7WimfypLKd+i3inuM0jZkmJ
VyqbAin1vpiylGZDu0ObmD6byfgFP/z/Y++8thtH0i77RPgH3twCBK0oiZIod4OlykzBmwAC9uln
g1X9d092r64XmButzKySIwFExPnO2SfzuT/cL53ojHB18Wu0a0YzEZUdS71H/CH80uX0elC0GWKY
QSK18ogC0Lg7zo5tv1A6HocZO4Kd4iz6JnYoFTSmYXxIC+2jSOPlYC6dPNOLttFoI3xteLKXmXkd
bHt8LrnnK8OUD6kSV4EyuxqVsqnJu+HWYavm5abvenkk92GdmkE+16J40YQhw8xYPgsaQgDC6Jxr
Opk+dQq9O8TjlH28NMMbn/Oet5CBpODGaBkVB8JZImpT0LdmD+pkbJru21JPrm/CJOoM+91gwl9W
h0mo2oMhOnLyibqluKpHME1go8YNmGPwh5Y9koceSLWyvtahInMrTHR0GYOK7wemwhwYB30KzDyS
YV3pznM7Q8Lq6so+UkXMTM+qnSMlGvEB9WjZGYV1znI1+UgolKHyWfkj0agHG7KJs2s8K5uZJ/KP
bvppTiMz2NFozoDk66BqB+2+y/rXSaHi0a1L6y7ru88W5spzETfNMVr1TdttrS/3Y6JJYteBNHwZ
NQIFniw12sWoq+JpWrDzrWBdLc5XRjuxktR0Fdq2TkGFHh803a6CLoPe3y0Ic24t5GGAheNnJMAP
sXSLHWMRFjE1Jn0wSXSFlOjyrSnP7NeuDFM5Z5i0Q+bFDeRw4DSEa/Xgr3dQ6jCAYp1YZTdtXC/v
vuBybXEjKztrTIoD3EVeFdV4FnlqHNS8aE7gucyDpnUbY7Cmp2SZlHtNDrvb3yx7iBiwZt25qyQW
EAI2PsOtDawQ42e+1D9bSzO3Je9+GHfpxDHC+RqxxC5+zlYscKpE3EvJIEOI5dpNGC80oL0f3nCt
EuBa9ujOGCo75WyoZnma57XgrFFPXbn840Nb7xylh74lH8cswlioGGwt0mU6KfV8VyRadk2V2Tkp
2Of+xOfd6HrclTPmb63ufDxbvyaroOksMZc9Y6rsuSgPbdu5x3a2nWOsKs8dOJd91XUopLa+3NdV
fq4sjmIdrKhgiWSyJVu1bPVE6P7tMN2VvTxFhX4Yx857LjTahIY0fexLbA+T7XX3PKKc2r2nL7v0
m/U3xP+knEXEBkuMYTZeS/AwZ8QL976TDtBiMVivbZLsSoqQ/SkiL8jQuNksoqvDtOJzpSW8I1/u
mqvjW8qh6lWfiPxGYxVSUtN8rJPHrzQR1cbMRjucu5kdWskAgd+mOJuQXH1SW95RGWe5s5rqBwrv
gyxS/TLmsbsldphtmi5Td71rkVKHveFLuzsSlu5ebRUtPS6TgFoy7X7oqtrXUzFdKC/+Q21Kez3C
jxcs9uXJZGsfRImWbuK6A3berr95dI3BmbNoF8mPaN1RKtMeoL4e1qkZ1CQNDeH4LQASgEQyhL+a
hOhFBfYgLX1chnV+HykbVV/6qxJlYdnVKUtdhKK01DEMX3uErJhnd1ZnPJsOUxY7hQagKykdGpiw
97FH6UzB7IMRfvdVjgyB+rb8RqNhqqY55d1I18RRt9MnAQFpQ5as3lvuMAaVwQN7sa3iZJb17IOf
cA4KtYL7ziUGFsEE5AmrjAtNUMTtzMTcNE5dvJHUQ2JBr68kPEXEXO8PlcUCOFb53DjZQ+t06saE
pvaQ6obcNUTZTnOdAizSYnun1cxT9Z5Zlg3OpBYxw9uyOE2ORjOzZA1L43crdkZ+4AjXt7IBmNWd
Ae6Ff9a03hpb9cyiLxU05DaCPtfwa9/ig7FcJP6G+NJkuRbyoxchApb2VIpMfeIGbic/l0xGTQBG
s9ne3aziZZW0oZLSB24vg8ZzJYl2SaMOO9YPbFE9DAtDyJaeTVb5up0PMQb8HTuOyNc8vSDIVLQB
EKD21LpTe+KsfK/YeLIiOV6ntjiLvDcO7E0o5DV1ZD76ME5ss1jduo9Eiuxx6i1xUulaKRI9hzJd
SFY4k1LylFU5L1RapYpiZ5a02mppdNDUUnkECKf508CtXKCGvbU5M8qqf5XxNi3S8l7CFrtXaDc4
UOn4ePunMtew05Z6oDfgwRudgvdUdV4GVWrYS723IW3tSyrehmk3IZ08ZSl8PRh1+m6Y6rXsJQ9d
6jNPjraXSc0NQ0PyYLQV4V22OqW10xlXfIJoG/2stj4tG1JW1qwk87K0/1CFFhh1HD/nMxlKSh5K
UPafWT94W2HZ1V7GcnqT+JKyavKCksasw626PLe4YBl/7Cm57kgWWvDr9NKgbSCqnnk1EKXIH51w
wvjx/Ifs1+Ou8UkwMsapEUX7kYKhY5rmd/PAPqduXQegaN1+SWzFkKcrLHaOfgIrshD84JXIZlLI
BE+IUuKnYMDkTG/sWTBSRu1Tbxobfa214wxB7XJF5bVd2+3eQsBYtYP4fPuQTpQvW5UG8QFiQmtK
5+X2IUfanfXWH9O1XgvWzFZkcbZLDaDYsU2ufVSAyCV9ce4ilmOzwgGjkbjbAzdWj3kEqwKWS/OJ
UvUojehdsZQ9Z/GBrRWPgqzn+Or2bnFffeozj7usp3HdtN162zHOwZBSKNi2hmJHHJHKMsY+LxKm
zA1gPQjFZ5Wi0a0BnmArJmf1tHxRvLw+qai1WYx1W3Kg8YBKHNO+o4+maZuTruQcVGIVD/loGgeJ
aa+SmnaeO46ZdeEI9iZwfDHZWlyTnNumsbjQHyjP2eDdxfaUcKSsMZlRHfehYGpxYIu8yUaURxXh
2+u40fLBOJp5yu7aZUaFiOk9uZ0MvCL+7AzHe+1hBlPW3mh4ROvodQHdtX3lkE/P6VBUDxhMwsHR
x7tkp6l1/BAnIr9aSboZNHU8C32dBtLE+NDGpnMQbvWutYn2gI/lROBOHIzerq4OidxqEhkDGRGH
6Tw1iBUQKaf5KKkqcvXoBSzr+KIvOceQ/CdzLHlWrLi7cAIGwxt50WaKFOSFsq4J+2QC8DqDV7Ub
DbxZPSMIVTowupx0n9dz6/PwKPZSei0bDD7YHYQdELUnkkHlnZW32Z49kEaGekI+qy3Gw6NqvSSS
8pTKLL88AEmYvzCktPFzYyxFMPR5/VE1MQMcx/plMGa3K69hI2qxi7e8najc7FhatXZGplLPJaOW
M3Y8eRxb5U6u4DFkqQ9nwFgrZJKe6jh6k2jCeyZ4yH0c39GcH9OWGJMwypdI6v3FUAjelhVTevah
pdqqXz2VKX6hMDPuNRVzG1PTA10PSEaiNF5VF/ZrOivI/7mlv+o2doFpdornsdSQ6t3uZ7oUV6fB
pjOsnFdn6uhhR9rYouu1mh7dddrgPpdOc6ZNMES0so5TjUg2t/M+tXjS+Yge7N5o/NrqqDoP06DG
nAm6NxuAx8Ptn5Kkc8OqHpo9+HU0Q1bNIlWjkGU1D+TKXxqwWd4B1/thImkFda+8lWIB9tSL8TEF
Rv+oUX259YgAMrnpMRExTc4gYO0KaiteOfHdE1UCp5L2+Z55DCltjJd7pu8Gykds32W6eHCwQEhX
J1lLXOtJomeQaFSuTi+3S2eZW6Jp2daAW3e2+/SEwbl5si1upkqpN7piAlv0CoYiM+JkhahKmVHi
7cg26hulqK/6UnDzLeWjIJkSmqbHM9bVrnaain0cw2YbtRovwwxKPu8xI7YpPRprzvefkIAUjsgx
r2D88pxqvspSsU+3Dwrw/SAlF4jk4hUb7NjICLV4xuyvXZy+ptQmLQq/iQuqO1rOoRggUnbtk2te
5ozZQSsv2fpBlL5QTBxIjrA3kqnqRoNwOqr5h1aZfTDP2hDa80oNY7eC1A28nXlehucGRr9RUvrH
LFoLC1eAd58a/QEibxGQ9pP7QUE2nEdl3HUzvW0tSioBnso9VmPibrVUPPe2456QtN2TFycZ1JxF
wGutqbXLu/ouVarlmfY5c33uxlrq7oZybF+whnCQ76QeKLKDaIbNxJyTZdOMU3O0CswattuVkAWS
o9esLpjqq4ugUc7DzQw69w9jyo0ZqVcD9Pc5yrFe5UJXDooWP82L4txPdW+/zJL7PSUo9ue5ekjm
JWAijUaNB062nzSSLB+TzRnUou94e/srBpE7u17wiCMR+GpdJUd90syHxpgF9tIFPqDVvBudNB7H
8ec4av3j0sVEGWrcQD0S7Jmz5DbXnJo4FbTWY+GJjYu7BDZ+9JaZVBrlIw1zeto/cqMxydfVYRP1
+EXtNnJ2cEYdOHvNmiBfjuMg4MgO6wCbiovTdPsA0LnqBQy4OKGKCzvPHr/t0c519b4cU7lpx+q1
1EfA2JVrfNhi2ZeLYV9owXMxSR1qmIA/zTjGV9xn09PoiDt2B95+TFXstpADrowDvft0tZO7Rnu0
WvbWrumZT1Sv49RG08uN5FgiR7VZ5DtRhhfSaPpdNU/M+HWAXCLmyJPC1s5GuqXiZDhoCCpHh2YJ
w9S9J3zTGfTSxNzf/orZa9g4RHMfYXDdTU2FZ21oQW+63CuGop5xM9chSqkdDHOhnqkYU8/FqPNE
z1gSNSPunqf+o1T09El3uu65ZosM5u+jslX1mtq8FLFS/fWn278pg9v6SwmiUSrYJwldPRuFd0ZG
GT5oDMq3zTxgbAICV02tZ/txzSNDw4NEGLVnhBjPFB7lz6B4pudUdCMyek4AwMaw3I9l+2ABDIRg
Tf/V0g3W1XQxa861Ld/5lRiMpVn91Uv32sbxJeVWB5iyoC+q8rFfiJ8wZuHYLiN7AVkwuX+sKVk9
c3BoJ3FxKFQ8T2qFeQc1Dvx+h3daT+yjkxTTvaESNkvSbk0O1MWBkC21d1BBj/m2MMzxLiuGauPK
PvqSVoY3vrHfh8yCeyXtn6OD8qv1gIhrHQOWKFTlCQm5CdSlyj8wLr7FDCdP1cKXGDmNH2yJPaH2
lPjC8xO7fU6Mr8BuhEbJqKAQU/J8+wAelvjN4jlHfYR0vjjeshkbJ727faAdvtuJxPi6Kbg02BG1
i+NN0/e/dB6RBxE/gvTT9rky9fsM/ZV5+uCGkc2Y2VAUeosUFXs1HDEnFRludq3c4cQSvohKhrqD
HJhn5QoHPBNhWzpyp2YK+pOpWDub2Rf98qoIcroHfZF4HIGYTO7dP8igeReJwBV0hVvuGAd0IY80
IwARZpw042St8rAwATXfMqz/n7jwN8QFwB862KH/8w+kwb8hF15/tWVd/T+Uhr8+5y/ggqP9D4Ua
hke3BgIa9cskDv8CLjjG/5CgdVTHhqqjapbNd/oHcMECuMA/u6blqIamg0Ho/uQtgGKAzsUY1oQD
o6kWAId//HCPfwYZ/xtv4bcoNLl5SyONwA8IaMk01d8S2y5e7AUjorXnBPMDY4dvpJdFwyEG/sj4
G8aR8RsCYU0/MyOzQfgZHkbp31EqUT8IUmQxNbytlm91qM6+M0xGgNSbhmIJWvVn16mk8UKhzmdW
9HcoPIcCngP5svKzdMojtmHLb3Gcb0ZJlc2EL9KkntV3q/SauupLU7B7YkJ4SgswfI0uxk3fdpzi
cpfgnoOWaWHyi939yGQyVAYY0YPSPv7LFfDXi/yvrAdnDZD/S4j09otaNtwqHPJkzX9nOSU2UyVY
WcQFkO4m6cJHy9ycrLDVrWGuXCuKwEr1H6ZafIP02TdT+6imVUmot2pw7cttHJWrEfm7NMu7ohjG
zdrXwWJshbTklAxBicjqNcOLuhv9ttTe8p5Tvb5iltiwu8ZhsFG7icEhYxFmZdBx5oxl+CqTrL42
joqu1lvPyV5T2+yPxZK4mAaqklaHxFAD3MG4rbUFiKrHT2ryY8vBpaXLUVXGzIjJTizfZ2FjMojF
PmH3WaU01cT07QLGyfaZCxsespnFp6TfWkYiqhkfB7ZlpPcYJpFcnpdfAg88u/lvdgkdW7P0uel5
jo7TQHYFZ95s5h+14IAXecPXIKw1SViMm795r37LVN/eK4f1XbNwWXKH/sb3UVuzMSDee/sk4cCj
sXhlRv7p0RM9VBPlOzQ1+GxteryRGalnofoIEOMG3Q3wP1mbqJc7zA+A6Q03cPKEGnk4lJz29Y2e
4syC/kAntPs+dXYR6HB0fUx8+DWyEvNZvGvZu0DYQvlx54v2NqhEq/U4/bYyjz5wDiRYrmm6zrD/
+0S8wnak1A+Q7R9Up0xHoxXv8CXuSAe4vpKyerpkBRIrP5U6h44RRbfmwnMYMOTzgPEu/+ys6jHq
5m5Lm8gwHmbGdPBE7kkYwxiXdxZVKFN5NFT2fnLgiMn/QLEa76JZMe9IXO+iakz3oxnqX5JRn+2R
FDWLl6nLv902P/JGPZUeV8zfvE//4ZZyiWVrLmNex/6dWtqZRt/PzujtU6Oh11clgeLG1rzV6L6T
+rM08/f//g1/Q7latwvDdeHJmi7jUc/97cKwBq2jlI/vSNvBqbFt9oEU+JnrzWBX/VuTVvcghBP2
8v07hbedn9a8w06t52FfuQcmcd+dxnk63g/9x3//2f7TNcvR0uVqMXnE/E6Z1bWOEnul8PaOTvKA
Kmto1WXAStbRA+lYAVOwAbtS+TfvwX/4tiuBlYYlF5y58Ttg2Wt13S1Gxd2XVvE9We6L2vA8YGzz
3Yk+CuMp3+Wd+/Lff1ekiX9/6y2df6bXiWXq39YogFrkkLhx92idAzVCD/E4UX88ktZA52Vfp2Hn
HXIZmNeoc17yzCx8MemELxz1W9OYdw8kMTyWJW678mxn9UnQ4hpERFh3KV+m0Lzd7MFcAf7D8Up1
iqAp7HzDGffR7EhfE/WlmFm5VPSSVQMv9ezEqB52HQq+b1hMCYQX095mzchJR320jXrcODbInJxx
Dl1VHQILwDNS3/VnPIP6dqq4DAzqyQKGlb6oMRQxv/sh1Wve0NEW9eODB+nft2iSAkbnfEom7bnF
TzbmTo7g0mU8FrFQ0TP6jQJ90iI9x3kqh6AppxAVuvdJndspYN/1wVNMy50Zsxio5hBMM29bI7aK
7ZKNm3CNG8X8Ygz1tdfW/5elFTflDB2SNUco5Hf71HtBVeYH83hxLWG8c3b3c7GuDrPDHEsw2tG9
reom+b4tCwKhODkQomkEhMvxN1eEbv5GaTC5L1VN40KERgWqwfqN4BJhX6ZbqZ0YnugDg1Ki9cMD
8YNlp0RdjfJ4IR1Pb4vGBNWISgh7znkZyZoXNKvMk0mTXlhwkCSHQ5N25Kp7zR3BqZRZvy0zFiL2
KoE1jsGIT81X1D6+q3Xt2medhn7NyKfY9jzQN7LHK4ZLFuuk6IGFWj9Sh3LyuVyCuUOst9wx3hDT
U31M6GGkEccHI84KEifbpJy/JZNiRwcybFreHwTL22R88khVb9NBa/AeyB3IjBaai/kzVzoriKL5
ZWpAAfDMCmsuJ8YeabM8k2i5K6zqyUUBhfsPdAdDsOU3mv5OhGDc6qazRctzfDq5cmD1N186eeKe
LRYUQipMNSb+ZJoVYgXbZFDebNvypzaZd25pXLul/ogghwZtZ721c0cEuEifs0zhPBPTNcn8K4uc
O7fIm8DulHux9IcJfsZmkM6F70uayfH2MUB2yamWE834bBCOgJwOqbJMad0dz+2c9Ru4ZYFT8FKZ
r3Is4JGI4akS1vcsUixkbbOtmrb36cvMNrbDzx1lySVhYx04liTmjCk297ImKBadz03mYIp0Vqdl
2vBabYq5plgK2Z046gKo0vAOSszmi37DaSq5kvlcjsvzF1sz3HekXTM5w4ARhrYFdALUOcMwqyXu
xk3EkUHR8NCtrqphIUWbZy0zHKM+TA7O+0pwSeCx4sDZ4qqCwMcW0MDLTXk48Omc+ENlqQeiR/mq
1PtukcjQNRuCh1r5PmOHyYhHvJJ8fMZ7fEKQO2R2ogcCQ4afpcm+7MW+EAbncTRUx9olJhfDXJkb
1YEckFlTzmW3FyqR7MiFw044++LFNr4HZXiOO+EFjdbS6JgQedVQLjk6w3TOT1qnL1/VKtzwZVhK
7B167aslrHtbFXnYYULjMURnjcrqIibBU1CP9dXaHrjWvLHq9Frl0ynTgMmMtWowRWiuE6FkjJgF
DNepRh/pqaMs9XZv5qylaL10GjGo2SYjiQUqGl3EamoOkiSAJfNQp81pSYyVdRU2ivJV1tOFTavP
akNyxcCz1U6k1rVo+Bj06glllV+yVeFZthOEb0StgR2qxW6ltppyW/XKM0xbWvAqHrFmXO2BUWD5
Sy+ZC6erc0ccJsgpfa8kvqnAMm/JFdvENQOpZfuZsrIAj/CHwW1DBn4doAM0UMbsTC08j+hyJwTe
P4PhfpcSgrHLGZYpJRBYFYwvT64Top+Cp82hHbmPvYnUhRXdF0I8V651uGxHLzkTUtDx6lZndQI8
kEkGt8lrXg6/hIMlaVgtkVpz3wEiscWHFP2L1+mfuYmMuhwFziPMQHUWMqtjTN5WWbA4IzlTa9PL
iE03E3b4KQtSHi+CAz1gIPs1M71pkvIKEM/x9cL7yl3BpD2fngtos7hljYBGKtt3iH7i8vbQql39
gSaAZTMPiR7GeQTIZELi0s18q9rdximKuwHsxqjQ8jLVeKO6GPC+TudhxauTmK+NOtI70qZM3+xG
DdjavoEW63wARfmlUbxq79QdiBxNXMzYVrZUDtNykuB+kziGsLxxbvQzZ7YRHG0idKbk66vj1R2R
vDxjeBLgGjKTm7mpdc8Xprw6XnVRZLMCxWkLReHLqFhZkamh6BhLdotzdTjfHJaqNP0GaRPmQtcw
+InyXef2B1cmBTM3SuC8JPuK0hfCcDIYSVImiXGpYlXl0EUADnrIRE5Jo3mPTgJ/ylobqr+0eShE
ct/U0FYkiCw5CAAqAKyJARkGW8m28Mfx2ngUrnU6sTZv6Y+9dkhJ2rCDV3bpxHuVe/MfCuNXa0KH
zcgLg4187TvvMmms1URSrl3T7mDM8farZGsuaov12e7KXS5SJzQSbJlJI9qgGeg1LtU7FaBowD7S
V8y+I7pivDee+eGavt6A2XVr1s106E9Meo+NEf9YXS5F/KM0YaOURD0IxwxX2ZRpIIsGo4bF9D/q
3lTF+xGV6d5uRo4RkfJKkmTEZV5vOOvDsQftvIfR8T6080vJ48WfC/chw/LoS6eAGOtt8pFjZF4c
e8/5zjJd9S0Xm0431G+jBx0AD204Vsl9bSTvUfze6aeiIhmpMqkFMu/ttIZuW5no+9vnjviVNynL
G8bmEJCE5RseW4NRswgpW+R3cgx58fiW2Khn7TrqYviJdOCYJLn65ar0Bb1WQ7KvvKIAz5T59Cb4
hNC/rQHTp1Pk416btbd6gb8iVCvUseYC7+iOC884tAiVRiPXPaHdfk/rN1tcsnd6XLwmoIB8geNr
FvE10TmuGSjR2fghFcgCkfNOcYf1jlk3S9UnmtLwOyAR+7qyeMEI+Nmv2rL8yGtlp7HmjjMOLmT1
KWS2x6TY034lGbb/fv6qpM2AQEFjRUU4KM30DkTpTpJ3GKphi4EwQUhUrgxnzMOkSko+msFfe1VC
zVzMDcsAfmXHfMwZHcvqYLaKOCqcXDtzG9mWurvFUzgAtuspEJF+sSTB9XLYSNu6sF1dtrVhTHSP
gv3vF7wqPi3RJDY8ceDX7ek7Skg/rn/654d4FShKSo9WOOIKNolIJ7vxbq4Kd2dbbnM0CiJmtmD/
LUloIJQvR/palmNWphlzZmJ8t6/mgjvbrekrOkL2puudYhczelHI+z/DB6J6bd0y3VZrwiRlAkIS
gL6dxKHDMs+0XW/o58ZS6d4xNtWoE62Q+jkjFclD/8olzrILNc2XsZ2Qhmc3Yg1kaJUyxxskTxCT
tqKDBxQr+a++TR9HlH6Az9UvSyvOTnJpUs4eyxw/RhENgCWMZ89JHse6u1ZdvlriTkCBfrXjdErB
zuFP+nJ7+9NcU23vILyl35f1L72IH3WpgvckNw5RlNyahofVBbHQ26zr/XXqi1/soU6DWLcpJlRU
dWHpQwxzV7fpTBZamanyKyTfZUnBIjZe+cm5bz5aaj8fR4PU2+B0fFVbQ2m3KMSSOlPiQSFY0zS0
Fi3VsV9jGrY+RaHV16/2Gk2UQ0xWijc676xTXHKLKmmdbrrZjY63DxVMabh9+T377mh7C7ksPY+x
YqQvx2zEsVVzDxJSCZ0daPdLlssfnWSvcnt3b3+6XSvpYmlkxqhQwlTZJ7vof5NXtz+5Zk/7kLAx
rydeQD70xdZbd2OVC50mpRaQUzgwCP+IM9SfcaheIajuqlXQULP8OxuiFw5Me5OqnMCrrDtdxlfP
6NMd3MjjQg5ujyW+49EAvVzr46M7o+/EcuTgyjh59XgdspJNHPYcGQi2boFpYBhSK/iT+vLTnMfD
TcOUGQmQgRhb3OGXrvH4N0Cal7Z/59TG9khV1NBeznZUsx+0tgbPzXC0OZ5EvDytzL4HE0HOspRf
cKXIrbb8AlInl9iQGWR4zOaGLeYRDzmZVoaKEziLUNjf+bqsr9Lf7ZAYge9qbOwx2Jf2Lqg0/3bk
Xga+tpbakAEHeWj00t1M67dLI+OqaXMIL2x1Trubm8yllN6LUItPsdAnkOW3UsLsRxfl3+a0hI4s
DuBk+S/tfaISvxhjPOm6CtiM6c5TphOHiahXOTgzNdxgrr2a1dVOiM71PA9DUhUKQYqgoZFlS3aA
qb22bDTbSza2/hjJIWV5ZguXpc2XK6Nnq6322Ww6tBHme6fogTDhC08hYBVI5Hd6CkOlcDdlpPuD
W1G9ZOvj3kFPlV8Ye4HVc8VMVChvxKpj2oselskW3FzMq142oWVNG7Ol5QQLt4WMgBztRrz7dEYV
h8niHu9XWXGsE49fC5uA0/6MSKf41TifGi1mvz4gVJDbeIsAFDszCoel1q9av9BULCI0jBxMr6lH
m0Kyao8tVAKDTROae7UpW+xZucIPZSvycRoOdbd6NfTw9vYkPGlonpYBPXGfkjciHJbqVVdZyjKU
wdGqHzKP6EKuLuNGicanBSMywTEy5GCU7hXDvahUYQf04/D9PPcJK0gCMghVQvKqOMQ2/cJOP9I+
vSgRWu/tqsvpOMaQQooAv4Y/khbgb98LXHQzgSKyCiF5y8WDAYtKOhRH5g+khyL3ha4Lhr/rf+PU
JrigDsQYbm+AkaxH6lWJcUrr0rbmj6JBG6Iyl6ie+itV1PvKfE4GbO9z4gHX5yVNM8ytBq1uCJUz
/k/fqsjFr29nnX/d2lYh9SR3TrnquApWILuDRccFHo4yfy6n6T6rUeeHmrNcmZoufLFC3xTMRn3a
W88FnTQVYoNvsVCECxe8P+F45lCKKlchxqFsjwf6N3GwofBQpF1BI+h15uAl+4UxC5kgzjAEzHSv
SUyExZwjG5XWoZcjNX1z9hmbqDCasuJPSehm9ZHq5yeiUPkW+Z7lOKFlaNSSEBsJRWGDu/XwfG86
s5J7L3pOOio+kmjhpoU+zvGr6utyYzFc3xZ0NXDgnQ5aOh9aBb4xowdOBU0oqugo4/yPMc6HQw5u
jt7T5btUr9CiPd9aESe4zD5TOokAI3M8rvgmObqZ1qoXJqm70kCdU8Eow1dKiZRTprJeeOgXVlDl
WKC4TOje/kZe4W0e3Re4h/fFYl26iMuWDVRXlDJ0gEroChHv2zVGyda4mTJjq0Vi5tZt9VDtxaXr
gP4ldf6tLjxpqSQweFT6JA4piZqtlcGon3TdVDYI9mopdroOK4d866ZUO3Q1pTnMhMZ8NeGt8+ru
B+Vh51XFjfI7KeanZIjfVLpOiZzryqbwmsAbulVHYxccD+7BjizIVdzP/IbdL9HkbTCnycnSmopT
CS30mYlA6mXjXuGZAogWeycJfbbQMTwy2sqicEyfcnv6agVwaafbgCk/cOC/I01W+TSIl75KhI3L
ijCHOUc7XSq0uu7LOj3UAnObLjZTvc3NEVJ6Q7h19PBiyws2NSpyFzYFtMgiYuOj4tix07C504i0
zsuDHufFZrQ/Wg0YQVzMV3tx9lrpfA2u8oMgfBq0mmICE1y2wjjYGtvCNEuRoiwjaDnfNHr21hTJ
CqKePh1rVAhG5AdCOHd5qXGuwU3pe+QBfbwy95Qf7S2pvwjSfBBI7lVR3BtzeulJh4ZFmd4tXmaT
iGn3XqvGJ1Hbf2AAeL+VVKZuEXqDmoV4Bg65A6wsUpeBtch6h1EUb8dO3CueKXZIttmpXCAGKCpr
ncTlcbNDEj4ejra8pCZ6pk86cgaPFRLL/BUtuqCvnk6VEJ05IfQE3eD2IVZFD7rsf//eesiaoibY
2tXuqRXkqw0lfmr5CY5aWcyBY/IMGSZlPnXQH3iWiA1BRgTRRVWPpFnm0p/tVj3e/o5h+YHusdoH
OkfpRWlUdxED2WUEkqb1TqgiFkB30OOwGtWdPZLHJmiAcSrPDa6I9Y90zOtkw/nT7UOe4+dIWbvD
Yo183z6QbE044+L3lGso/J//YUnSOzT/KYwzdMKWercsNp7j3kjvmk0sRoxc2ERJcZjIIvsqYj6J
ZMrRuIM+yQ96Uj2+Uf1/2TuT7baVbNv+y+vDA3XRuI3HmlQtS5btDoYt26iBQF18/ZsR9DnUUebJ
lzluN9XAAAESLEQCEXuvNRdX7VVYpihg/1w4gUiQ1vQgQqq6vNLs5qQKwf8VJfx/RAnUF9AD/L0m
4f82yVKV395mQJwf8kcGhB580GUnB3GmrdPIoVH/W5JgEA/hG7arO54BiFR/I0mwvA86LW3Xl0Z5
A9wlRfffmgTL+GCZ1OQDz/Lpoxr+fyJJABQvQx7e9M+hHABeRuLgowIybNuSqoU3gPaCDF7cau54
jQ6+B1zCZE4tJjm3MxJzOZnLhC8Kgz6lQ+a2+JlZ6Njkz2vyJmrTFya8nBO6LKANIueWoQQHqDWy
5ou2iE+dnKnQOSjPa+rmqKYwcoF8k8hQtVHDCLAPzPiI/TrdRdX8FFcDfuhATi9ADUbNZzwg12bc
hbvUt8rTZWFgPyUKSW4syI+n5GoXL7a5eNteAjiYRYOG8DrYnm6ksXRqF2mSoZkbtJ3ipBZm3U3U
6yZAKvZllULda8IAA4cTRhpkmOweBjod53viKEVdmGfpvEkH8Kqumdb6+RPz57w+ZIiPUt8FGKA+
xfNufvFXLbAdMpWJTjo5M4yLThJvLjfzHN/sinJBSp453QwmzOWCpQIbO6vRCBjkvFXdVsAbf6pt
ahmQkddLhbe+ku/8sjBc+fYjxR7J5CeP9xTsQgEaoTcm2C8EdZ28IRX61qcjRw8KFG9JaBOb1R0u
9yLt+5MzApVYENTs5rp+nGe+GJZEwKg1BYNRa0lvNUBF/7pbhyGCt9FKi502GU+hpMbABOZDUndU
t4k04IN8s+ty9DfHLC350c5djbtoBsT+7tnFebd8dvWS1DHOz6RWL69TPbAQezHzXcu0zCR7Qqpm
5Rpif/NkgVQFTy9X1Ua1qBcIzTbi58smtVbIh6k1p9ZQZshSsdx02X55gEOIE4bafaEZsEBKn0++
JciDsa1aV5svC09+V8771cZ/evvNodRqwtiXcEnr6fIQtXY+zvtDvHnef1hNgx8WYMvj+2d4c6Tc
pVoM8NojjEy+mX/xTP/eM19e9Jv3/ebYl/1qTS3e7H6zqnYldKfBI1s7D4zM2vT5+V++3mrtb7ed
fxfvdye5VR7ebdQqfjXqp4M8HwTqu2cQbYURQFuQR6/sBsCSySnt8pjLvd8dVu1wlwcgVM4Rzxrz
E4nGUGtGyankcvPdtsoOU2ZK8iH/sKruqnapNbVQB1KHvNw8UzzU7UIdTq06Y8eR//WzqzuqhXoa
NNFPWj/mO7XJhFc+fFarA7RTfZu2i7HXCXo/lx1lAXKmV0iQbJ/X51qk2uPnJlKv865LmbJLRmeh
51/THqrTcWN3WjpcqQcszJLo5Mpipu6QX3T35jCmK5XRwqCrl8EeWKldnWYRfnHVoO/fZUnlbObc
uAm0JlkJd/qeNPYXpu6YVgyC42Ka0VPTfwdWCTC8m6btkP+YR+biVcz0XCNubRZUO7C1XIkcLFku
Gw3YLHu0QB4l/4W2T8klaDXSoaTIVDMwvbzK89uYbZ9Cf0Kqi6r/DfI8fma1qIusXPyzbYo9pR5x
fpi8Mqj7/e1NoO6QkN8d+t84DJzLfo8h+IyRCdTFVj3TeVU9nzoM/RCu++oJ/vaVFDpUrnSu9m9f
TcsETJjzo1BXMoXWCgr0VGqt+xO3pba9v89l9+Vxl22idl2GIn89xLvDmoqBpzZeDvGfPY16ZZdn
uRxGbQtSAuQyvzzNkkQ2yUuXKa+rak1tUze5gt8bqT7vLtuHuB25FsqHnVfVrlRdV9Vj3h1R3SzU
FVLtPt9TPWiRT6vWzvsvt8/HREQNF4FWxWLAGPcqDYC7QCGjfwVQWlzFS3FdjdSjDFmHnfpx2rdk
6tCfN0jgxWtOuVzfLKHVr9H0EGYQk4Q4uMvGn4NkzfUZE3DsMedHL7Cn8QIjOqgOVB33gZQjZZn/
1bJBjYnklLVfXc2n5C0KKFW1ua5CE6yQ9ziXwJgi2iUrra1f02Ww4b8Bm0qsW+Dvy31Uh/tWTP4p
a3KD5lv9BCEMDmvVfs4T7VWltc5GH2wrnHnRCCQ3NZd15Ly0QRnsATgGW2f0UDTEe5so6T7XSarK
y2HldvO2rePXDHYaQ2L3YLVat3bCEel5tisEHcVhQjACAvEgspp8r+RXVkLwZsZBidZ16RUynw5H
/Adtln2jZQcx3s/KK2zv1cbHs56b+kthZdNtkYhrHds8LqFug5v94zBWKRzVXRDjo6irOtgWATGb
djdn64Hah2uAenGjPFt9G0pqU3FfUVHRdOQXVZJeJ+PyucoTKIqkWxjjF7392EfivqbEigi1KvRi
K9AVrAF4EcdhIYCaKedkiY4V26fTB0wMp91Cl+/BdhFHuNKGYDbSz1pRTParr9VIvdPvIkDIoOUo
HVoPpvUjHwLrVITx8Jx7BCaQg/NYdO51mdRfCOOZNr0frvr5ISqiU2qKq1RMv0RhlCetBp/oCFg5
zoik1+jQzeTYfZgnx8mxm9mbzc1NOWenseOkWutWubMBVBU9kE+/MMGj1MFratCYNVuQ77NVbMAr
RfR7KfnEnvlliB/CBoGVSBJw8eQEbISguhXqezty6PSuCR1n7O8kYtcnvC0asMdp9L+UsZneDb1Y
HvrP/kd96oe9l8zjymm1nxrQ+ZrM1DzWP1XBUu0bmC4gMmBDLNa9RWWyKneRIyB3BSJYd85kr5GR
rxGLLiu7pKjT+SNGUpuA8jJvj3UKGoxqUbwho8nbxPVAEEDibcIwIgC8qA9W0H2Jsv6XwKuzwavd
r2ClYPcrwKa3zp2DbwxJVwZIWVide+VH0D2CnEKu+AGGN0Qxke/yghCSutKxlffGKWjFr7K2750+
NHZC8HXYxk3UbnF8iX2Q3ZODQlW9wc7ttjAn4PchxitEQNU/oSVFhAsfHDMb2yXbwI9oOw6L8SiW
Efm2gdvLDlHZyv7sMj24nQwpgV+46s3+pB4xi1hCqecbdA73RNOLL76THxID273n7Qp+H9RAG8p7
AEnT9KFntE/yRe5fuQaJp6GPbVzvi/vAtE91NRtXZpqGa95PtCUM/HVymhx9sY1giezp+6l0UbQF
86HJA30jcI5OU94/CH5V655ALK72xF45RlLczwB1VrYFmryY/edlHLiGU2Fbiz7sdh6KFlqj9hOQ
qPq6TruPjRX7h2VhzgoaajU3gL4IgmVCxhC6zqL2RvcBosXOHrLu/TQy/RvgPyFLc55jrS93zTIf
hjFDEoUZaOjpTQHex4oOnXlJh292Qw1+Gsto1fLDX1daU9HGWhWd2WwdLdz3TjTtzKwseayg+95C
p+ks+zqsCUoBC28xGHGttuR8Kggd8SvObg0HoB7sbCPYhq1d7wz/KuPbeHRg+vew/WcJ+Xck7h+j
9kulz2trlMoXGQlg2e1NPQZ0boeulmVgqqUyQkAnSwBQCKA4areCfy6JdvHPhdyBkvyBhBwClzyC
sKzJ9iWgwIewlGtEFggZXsAgTVtNVfdUyWADgn9gyMuwg47UgwHsOz3W4EiUU7nlVDjDESEkwSIt
gcxGwKAyQKErHClgIVTBJV2hC4lZoJq7J4JwW5O/EAK0wRFuQKEhmqFAtVaR1bCZS/MRHO8nfn2k
OjS9WI0y2iHnVheEu0qGPiBmKtcRORB4VvdTA+dVn0vkoUX0DKtjoOP9zagIkRg7dKpGjdidwtPH
iR7mxhtk6ARGqCHtPLxR7nUWGU+GDKjoSKrQna+BDK4QJFgEHX7PQoZaGE2B9oqYi0gGXmiw7IC/
53s8nc7HnMadDMfo79yaqAyy2lf80qx9nSZgC8nTqCVYuiVhw5xxniFRBuviPgwyhCMR0oEZIvop
axnR4dz7JHYAhUKSJ0M8Riqrq4hcj6x7aRhFYUqgzsvpriP/gwkC0SNU4EmYCHaVDAlxZFwIvfxm
3zVEiDCSPjZkivQm4SIAt7cz6PMH4g82nO3om8goEtq5eMRJJ+kjYkqIxRnXNsklFvTghSCTfoDg
iXJiT2jPp8Wdq7U9BZ9mUyf+JK+JkILz3M3htwYlLyo2rGzQ3OiPuCDRcg1BCA1FfinlAVoE9BZh
fiwnmldZmDTb3Lsy3Vhf0RxEyTQFBtxWpHo0/kGGueaX2u+NdYACaAVemfhKofuH2dMEU/jqCxW1
AvgjIyK0wjvNcZ+nYd7R2X8ul8lGGFUe8oj/sNeCeo2DBaygTWqU0z6VMnimtxZ40VZ8m/nVuB1m
B8ozWId165coKCFGWSVAkUe9M6dbUEA7gjtgH/Pb8OAh7DiRdHiDvw19so1Ce9okbnhvyaAcJng0
xjP9VGckQTYUJ0bA3Iekt5FhpcmnsEjzE37hW6+3v9sD2kFjiU6oj+U3I1jZMrBnIbmnaojwQe2J
WGG+DuUnTZsQhA5xP7PgzDd2a0MQBETuEmoBP/khDDQjM04P1HsE33QyQqipCBPytQCqHflCKH6f
QCtue87HJ5cEolhGEZUylCh0iCeyx/K2j3UCi2R00UyGUcvIoVahRl13H1h1Q7sIymBnijssYZ/M
Rr+qwv3kYoeCIih7XKLdIJ8uMLv2ZChxJ/5t1sOEUmRNsxDy+fBdkLpk66m/K2UQk0ciUzOE9bVh
xo/2lJM4knbITuMf2fTJJctpJtMJ6f4MHEszV2VkHNtynNaWjYgytYt+W7gy5OoXMZP0FGRelOnZ
z8BUIK6SdxjSB1rHviYDAGhSliWSgr7UknWCPeZYM4QGqXotxFJuXRRPhwoQsEfj3tOsI3FYPWkh
1x7PiOK4SddgD9uNXVv6sUb2ucgsLM5xNImD8MYt00c4f684TvgCoJdBE0calEzUktlapIJd1TFp
WyGxW7U4lDKFK7D0TdQeM2ckUypYSsbzKLTTibZURoSezPJi+oD55utYkfHVGvLUKXO/3GmCET28
lgSCIdsB9plBDI38J2ZsgmndviJCDA8XMi9CxSa7JG+4FDeRpT8isOk3ll5+dPr+R0S3a60LmoF4
uMFHipU/xea1BiZST8z+ECPJX+qJU3OcxlcEFdxmlKFV9hkhaCAs0Y/LXLRUBqTJpLScyDQYeSlO
DpmixkBByFw18HMkrCHeNRxEiW09VptI/zp081fNGXaR1aM5IaatQH+xRx1AchtSJ+BQ80Y3Gyyz
4eIh5U/BcBD5lhL9lkdcjGNLw3PnpTeCeDgn+dH45m0jU+Ms4uPy5CTAomwJCKKoTL4cSGWMQSDr
SE+Mt76z8B1FlaHhAdr5ub1iiKatRj+E4l0ZPY1tgx8folWZazdNDyiTEOcReEd6CKZ35KlQV9Eu
p5prIbgL6b2RlFeOyKR7PbsiDiTae82yBRRBrDictjLKX+J+iYhJpkffM/8xqVfQj74iTTpb8/Ni
dGD0xFGOlDsQuW6gb3zr5+RJjxCBl+H4C/bWtRcMxtGYh19u9Ew5npyidv41gmz+5MRwCTOZGghX
0SJ5hriOVGYKupsUJwpcgvCKkJhr0Q3LNuj1aO9rN0Uwfg/mNruhcrRLHMs+GRNgsiypYfRHx4iq
MOSA8ptTtfNq7OgKDvrRpRu/94L+p/DFvMlD8HPJ62BmiAFtl6JNACIvGHsyD7ofTRHC2iF70Eca
mtRmgsSFi4LwgldXKzZVCv62CW4cr93bKID8AHt+G0YPWLI+AdM6jIb/bLeo0gcmySvLm5+asOa/
2j8bROJtkE+Lladnt4PeXnOWJvoSoK3f0EI0SeawzW9xNV5rCBbnaoDBjc1AIIW+rbS8BcpkxIfB
tM19E/AvgxTRdIQS6KkT3oulzu/r8MrWyC9CCMAmDH6AMfPs5rwN6YwAQjjCPfvzUZEZxohZ8LcL
uU3tGBYL7o83bWrM01YMwqH+2Ob2eD8a4562O7FWACBW45LhCHHTlBcSPWtiiDQkLKgBa3qpw9BN
qym5cmx+VZQIbgeSsh86uZjz8AFxqU/ezxUyUOdeLShHwqyfF0aiODjO20oX6sLS0+3Gf/17W78g
ojHtxNzXPnpv3wnvkAqEdz1fRuHV9/wo4OB1XbObCtO8B+RkwnWyxMGfvRnTPzexlVv3aeMldyMi
XLXpsr117ZeE4e9JbfK12rzPxbRsihEE2+W+pEuaELlhpKm7vNkBQRGS6/mJ1WYHtRuQ0qo8qidW
28J4JCuuw1bAaH+jNqmdSaaXqH/nj+dHFiK59TyNRJI4faBWCJQWvJBhJA9jPf2akjo8joZ1o89p
fj1Njn2vFqTB9Gss/c7usi2fh3IfEryzznQt1VZwYa1rS+tPmZM594lcqDv3iUs7h1CROe7adVn6
2BBCaCurxRE+URjydlMRNwNBmihBdTsWDnoPd7pPW/9uCTiHDEs98tvp7fsAE+udk1xF8obF9Oa8
YGr1pU/jBRJlzhHzaGk3U2lxcfjzfhNay0O+oFZWB/LwdKFmTO4LlNK3AoX6+Ru1iIRsAsTIQV60
gKuK6MHW/OjBTCvMRdF0pe6mFm5dmZg0yOpTN9V9DULZkduO+lY9Sm0z8Y1ttAojbz8hDtWj4D4v
reA+ynjBltV/jcImuFfbTa8Y7twRixjKTt6HvFvYz0fhmfGNugezQBzHAAOShe9fNSfdQYsC974W
lUf6S1wTJOAvG+ZYsP7lDqNL26MunByPBjfVjijT7VtMvGsLLabGwD/udm1hWeshmRm5Dc715b5x
DUUPwJ23z806xeyaElKphehe4WRJ9WC2tbywjNZeV4c7C0nluq1rRCFyYXdtd6SmVAKbRTz3XxUB
bCuwwbP4+T//59sPKecCeNUkr91bSYDJuJF047+XEdz/LMsWOcy3MvmLluD3A//gG9gf3ED6UH3b
wNLvBBcxga9/gC6Aw9J0z+QD88I3MD+wCS0B8gMjwAhOlPUfYoLgg2c4Jv4t3wCbgIHxP1ITmPo/
uPE9JASWh8wR3YLhcry/qAnojLZLIfT5MOXi45iOJAYX6Ud7ZhbGKEW0brCLNOOuzHUomrpLBdC0
W7jB+homtXMIai9/FGSjtkgjl26098HSNVsXbzajZswe3qTTKsmH6Rocx8MY0I4v8JhspnhqsIrZ
6/i6GFCiNSF66QIlESz2iOnB9Djhi9kFxgs1onQTJvgTK3uWx8rinW9pjGzi7iR/Ylw1q+9pM5A4
m1HncFrIjhiFDsSwu8wgGbpmpQ3oqM4IR2O2u589m3pdFr0Eliwgaw42EmpmoBPc9Kpvu+c0fkzS
htFtAJqlS+Fom94XcPbNnjol5sXo19i6+9YyGJXMjKZnEeAyx1GSmRNGxzyX0AAmHu6Y7IsBgmlN
LWbXTsy19DKUSdl0kxBw4hTHV7jBAuGudW3Kjp7ZfEft9QuBZ72BLf/sokbbLikFeQZpjE9y/1gM
wCoT17xBmRzCp/bTY0JxJrNuxonJKLKFYxkj7LXKgLhcF39fb3s+sZ1U1xlP1ceFxIItg5Hkdo5n
0hEIUsESfZNEdndluN/buAWEP9goBCWDy6P8N6Uk4jZ4AfdNPnJlh5y4GSYv21ktMkQ3xGc81x1N
MqJPg44K1KAjAQXyp+2tNEHN4QScnGaKoxFpqomI6SMs6HMXr31yF3E1NONyCIR/QPOa+cyTda17
DY0KwIxDhNfi3mFyKe4c2yQd1J09ZGtYUDnv3Sx5rh1Jvbpzqso7eEls3gZQhqbK/uIZRXdHfRE8
USCutIHycADgUdPB+I+Lv7cqbX4Ke+LF2ons22wMrubF8SiINEeG/t467MPnSWbMuZgFtq0dU3NF
X0anj2hIzO3jCoUzKOCIgOLMJXew8M2JGUVVrX0PXX4d/2hyZsiIzfBItcMeXunOKbWfdQZ+IpsW
nDSM7ooosh47H4ef5h3pdmwaM+2vyzZqpQZaYBfLjWseUq8D4mbWJFSOSHBJAnTt6L5HZbMdJ7M/
wntuELJgho6xGeuTmFe5cCMaGl1EQrb+eUIusx5wqVNeqW90r/5Bai4PmdqPgVv5TBLDr4U2XhfM
25YYTWJfJje2j1ljLDymYJm71VGeb4zB+hw0+cd20VtoDCR19W1zbELwbE0u2j2xEzfwbCnkMJzG
rzSbH0kChA1Wjg+B5u90oz70LgSIdi6ifZ6ET9Go/fRBdK+yidq45cwYXsy9xwx/drnYFh28RGGU
v4oGmFoLmT1mJMT3JUQU6+181EXXjt+VK78xCCJpOW/NZXvFi7Ue+JS/E+p1qpAzr0tOSAzZve9U
6/ZVEdR3VhA8AYq+bhvwl64HIsINiu6qy56DrLkeZatAMC3s3KV4yL4a0/AjG2dJdOtl04ZpaMII
gv4FqQ5VP9HlTpfVsizp57A2aLw44LvWcbnQYCj9aTUAqC5c+yr0mRMWHV6DSaqd59r+brk54q0a
yt001PvRIy8rhJO4c8zgCf4VXXoPI0MJpWyn2wmxChVVA6QzqM110CkRlk1mhnqF3tuKhlsxxcXB
dDgZGba3H5fkQF8Liuge80BQkgTYBscKla8ISOUm7hYbhkZ42xpaou2b5qExFzD3abEt/PozPu12
g7Ky3lclxCXdesG3ahBo0ie7fpjjw2gx2XQMpzn0U/ZpIDJjM7ZEIVOuoO7VHueaufLUOe2nxeZE
N3ZPHePldTr60cFYOF3guMBzg8sapTlwePvBG8zdWI3zWkS0Uqp0fha5xfAUHdjj5yUHu52F/bJd
/CPUrwwDJsJjOlneBLR3tvRs7esnK831a8K/Hds6jWOW3i4zoK6eeIKbzE2wpzuvtTxdB721CWac
SEHhvWqBc6ClGuLUJBh2QDa8bTtArzW+xzUZO5pLDcRzftiF8YhMsJZ9M23beMbGdRGP11Xyfems
kkJC+dJtuwT3a+qRmBIRvGkZFGtC1z+GB6/Xv+sDmJrOivfaYhPmKoxDVOEqDEib0GK6Sk6KIdAE
VhpZv9C8fcocThhzExgrqyGQlzEnBfzQoHKvYxgN8ptwyR7Nauar0JkBKgTro2UmNw7ZyXjn6v6g
lfyOQTDtBx2LcFJC7GolWbCfd7j8dNlAg2ouVqLIoM7N1jbtbrshfKBTt7MLk5FswJdIuPsqML7U
JFlsp3aOd1FMOIxmDsdOH+dTbBrd1nHd1ZjTO6uMbl145rJzOuh/kz4cF3SNO0t4XIpzSt+hTCkQ
66TkM47cao+Hu8KBET3gsjmWZrylsvMw5cuxAoKKh5tScBwmXwda7zcRLp+0z3grjsw4hFGN6brA
4mndFthjtTZb1hagBMT7zK5hVgJuGMdXf4A51vh7Mw2/RbP3HMz4H6iMbCPgsyd9QWtcz69YfaJN
Z0UJ/55xj4J0g9L/dQy8Y+/iya6dl2T2X50Y5VrffGp9bT9m3b1hjy/RQEkprds7LaVwPIVrwyOd
2U3vQl5gV6ba2u5vNJsCMVWdmzrK3CPUSMwamClKzgXrPgSI2tKL7qCDQ6jgJCnCYzLQp6kDLHIj
FYyZGN0Vhjx65HiyTpi0rg1RMxyxo12PlJ08K+sON/In3ITI0Sf/Jur4ctFYuanCONqnMr1FT81j
VFUvTS9DzTi7AWjx9onRPgcB/Vdrzn6YEyH2k2bdiZLM+ZRoKMwwVMydbjNO0IWjbt7z5d76MZWE
Wgj+7z3jFazvIs8fyyR+Luv6hza4u6woiUoO3X0UILbM/SdKZOmK39w+1GdEA0zIMK6IlZ01pO9Q
ig63wqLaVzg0uXoXoRKEAarY5XPko0g4cGWPUFZLBZ5cjJ1DEzsvoA5m+P5Xo+by26zzY4iL4NSI
8u1CbXNl2pTawReAIadL80vJlOg31Ce18KWAqUH1ixdhN8sUI5Vdlngy1Ezd5seZH4eO3tKf4VPL
4Obbni6nDPOcj6n4WGS9zbSv0VaX3C8VA5a17u8YMLXDEaMLuos3onUmik9lySNH7Hc22oyrtLVB
752telJaq9bUQgWntX396qQMsS+b1Jo6xvmYl8MZIuQqKfAzknrzfUld61SBP0j04Oh6ZrYXWnYb
RyUmBhq/Ng0F7uAts75P/PBIaiQaIFK4SZlcSlbPTyFvh33aYwMh9S+Tot5GWhubwqP5pVbVxsvi
3TZ1xHfbQnw6RWs1h3fbLzf9kF5dmmICqypO5HGsLdSEBa5IuaAGUJ+EOwIGVLdtz/mUiznYjvI/
evm3plKQl+sV/1v1b86nppGoEu7kTuOngiCcLXBJtuleBB0YUMrlwWrt3QGbLGa+An6ITg8Kv8tC
91AMm3KhtiWtU2waL4d8JV+COtQ5OE8d8Lwahe6LmVXu9uIhVWvZQn42jtRCXkz6H0qWFRCvsFnG
kV+rW3pkDTmkGLrQJSOjlTKPFDTA+d8WIabJfq+rzz51OZtXThdudMImOWHJf58wURmrNeVWVYux
u0G5gw94sRFXw2LgHanVSAa15ZiQEdBmvK3uRf2M1MLzgGKuhfxFlU5Hxm7CpAZiCQ5zKX5Syl6l
51U31ZouBU22khSr28GQgsfDfx2WHgodUX3RAr+/qhIwsRNbMIY192xetxTRnxzg1lhPtiZtgBbd
EOKr6dFor+25yR79xNk7TfgZDUd+8rQRzh5D6V3W1c1OQEnFY3kaS1s8lZXlkLNQPJSWIIY5KlPU
RjOXy97K5PmSyZyb0Nxf5MgDQ8jKdpCAx5RnVrWfE4m5uK+mASEDo/GGLlaxMhbPOjmpflv3ubEJ
EiwxmO3SozExiogy7ei3fbJugWNfjT2IM4MggVvTrLhCugtjF4+pNRLp7BRSoZqcSNxhPtxgM6dJ
PCnYR7KzRU6UmFQVpEQ/b+oILY07lr/4hT8hkyeIN2BepmkQU3pCOncFEDEaA5u47Nr7rpVKJteN
jjPA/pvAD9cBVwWQdkNya1qMCMlCkiGKkIMPmYkmYEmZapKIjI5fnZDld25WmrtRrl42vruP2hvI
rNvL/aoWu1Xji3VjBTdqX64Ufmp1GUi/qyb8q1Kqi2dLnAgnIehF3jwvmJZgbs+4zve2OKVMZ1D6
L7V7jDEJiQkxfdAHALD5BWpDcD9hk9qpA7UyjFWtNRla06xZJgy495d9MgVxM2jZKM1i4lTLKb4+
u1fqgb189OUQl5tl68wrcybfT3JP0P+HcQ7/ED5pjl5QqMRWtXpZwFRu96M7HlPcVHyhMNYrBR9f
dqT6OVmMTEGN87bLDrWmFm4ToClsyoiubOmdJYFqR5TN30ziQjiR/CEVFK1ApiQVWUJ+XupzScG9
7lMQxoIoBb7Rrn2da4a/8+R/Sv0fXBVcrP6vKHKDea1WTWX5sJwXQ9IMGl0zuYKygKFincyYnOSh
WTCABV646QveWiP9WbS0zIPPwAk1VnViXF6d1Bow6d9rl222afhr8AMguOlAAKnmbZTy8huM6i1n
zRVJ7Em6DZeHqkiSo7a4GMQZRI7zDfoBTlQD71KtDUUx73NtPEQWWaEoGgleHcwDE9doC9Zbol+U
oUK+qkWdECv52tSLaUbbXFWljG+Szz65s7OjnXprSfJDmms4coevswQ2jP28F0I396G8QJJW0uyg
eD1Y8qituj6SyNBdqdtTDg5m3YaEr6akeMF5cjCFe9Eyn2xCPo5+9lNZbtQi7QK7OCiHDskZTXsV
Kc2tnp+UTUct2i5LsbHzcRvyy/bGxOPI1GcaoFwBUrXs8RoTPsh36829pFD58ozqudRx/3abrwTI
lyOoNfW4y7bLzcthLi/vsk2ml63CiJpZC48zvBxZ3fnsQDq/9stj4tyPDwv098um810005MpxB04
CGENp2XugTIMERlrTXZnSm15NXvJtmd4d3YLafLbR/Eqrg7KZ6QsRNUyPY8dyUJ2mro4EanKK21+
BLDBbixjpauvjPrmqu/JZYGf97YJExP1V4pZZ3xILdJGCQkYTng36X0uXrWBrlPiH6o0xEjyOixS
YEGEZXBqUS9Cb4aPNKDLne/P2yixioOrkVrpldiBfF/AyyIj9sRbqBr8RlZRo4a0m9Rba2OYHgsT
kUkyG/f0+VHscsledQZp2uoYXMUXGDuQSfaYXTkvxcM+6YpfDaKZ/zYWfv47jQWMexIN+feNhZtv
SfnzbSvi9yN+dxRc90NguY7tWnQafFoDl44CMGX0xT6dARCgv2HKfxCTvQ82fkbT9wIdwC2Vrz87
Crb1gUKF5+ieTiKDbeJc/A+QycY7ZrLtw02xdA4kOcYuPOO/9hM6L6V2O2kLJ6UV1mfBfFEWMXQs
6q/GqfnaP2lHmlvpyjmSdv3mg/onaGHjH8iHnm+4kvxMJRdktPHuyavSqWpXDxaopBPedgohV/l4
W5BwCkKcQnJNRsJPY/zfPq10bL5xZPZ26AxNwtM2n3tUe8Vdr+23VCpgn4XtlSN2xEH863f6D7DR
d2/0nQc0c5mf+wPPSPx7vzwYwN6wOSJaTzZd+ulfP5eNT5U38MZyyrXIMPC1eib9I9swzHefa5tr
Io2GujlEZAWdYtfbezYJI/Q0VyQW1DcETMVbixQTGuQRlVErS28C8mzhAzGZBfp64xXlQkRc6O/4
5gbrcsaRN9JPXS9N4WwMH0G61er9bvH0l9AbDGp+hr6bIbz3qf0DHg/hbA5QqtErDyU04U0Dl3gP
qGkVZrLskY53IX1/oqLHG9ulE5MsLeivqS03LhWMgb8N9Oy4gyNpV+YjVUB7vejUpKBkb5vFmVaW
W9yGXRIzhGyIs2pesqBliptMz5YvIDnM3sfJy8OPNz2RYStTJIdxXPRt6OkRiWnRykDrdnCbb+Ru
8M2zviFmB/VZzs+O7qJP7EGw5s6pdSntEu1NSA4WNsc5lXF/HM3u1aqCW5MS3ioorZ9O0d8kov5q
mcPzOItN27Zk7owvs4k60+v4ZJdU8jKpRmZEHvSjhjC3JZF6cWB3ut/7pAU2OQNfwD1RE500Pk8t
7D8hGmIQUPrFhMCXibabZ7BWRUUh0518BObVoc5ejdL8SbZiDTuU/4SZwaA0OZQZQbD0seEbJQMr
o9qLMZ+3TT+iS2IOodXz51Jjmkk+TdcxSenFGsO/saL0Tj2nSkhjqb4yc16nSbb1+vlnxpU0dq0N
WuZ10kzP8yhpg6HYDyVY5cxbfloWKd/iBy6ab31LUWn2cVQEKdSfXluT5FlsvVF8DekyaJ67M0vf
3uGKeYZl+FMfid/rOhiMHKewpmd9du7m6t6tA1K2qaOsWnhJgv462suV78aPyPYpfjYTV2BEQ1lV
bW2zvSbGowSkwryo10RN/Z4BSW5ZAyUJPjVfmKAh9F+tyXs8TqSIkVlk/9Q836RXiEqvIEsOkU5o
IvXy0uRXCzqQbik5P7HWXWeQD9aFBSXFzJvPqWXTQ6jaH0HlIyWIoRb1WXYqMu6NzOynniewpyK+
c+YCFhIDmmFUYl37vBBEUeD4IKms9QHfMqW9G/LD8XHU2TqWgygUhg+B0TzaC1+T3DD+H0/nsRw3
skTRL0IEvNk2XHuyyaYRNwhSFOFdwePr3wEn4i1GMU5Um0JVZea9557rzOEuLjmFr8m45gopOfSF
7FcqwZBTy/pBXoqstSAhfJGZBsBzS3Iq42XhNzCk+P2iqQtpLkefAG8e+VkxGhb2+IgPY1IFLSRs
zQkGF6T7F4S5N65X/y3fSgXKFbX1XyUzR2+2i1sMmW03xt2663X7KRfQdWe0a24kbbBXsmkYDK3l
zjJRKrNu5qW65+V0JayIHMGi/4BaFVPzj0jsG+SxlsMg1hH08Le0lpkec2WQRilVA84VmUK8DHh8
T5ZqZYcBpM9WTftjLh7TCk5jN3QXu+lfpEoYNAX5+H5XHnAaHAgjFNm4+VBVHkPcR2WIAwEdNI4N
Y3viACuzYEKZYQ4wDhBAC89sS1T9fjSY2qiNn28CfOLJeToRSoPTk/+VSv9Mtvo1VxV31XlSle0X
zdBKtxvY43UhAsecXkaLz7gzxIcFaMJjnHsjChPqqQOLtoqhBErMncfXaMO+DLicGDMBVo1bbCjs
n64Sg6SMhpKSSPsHuhDNv8pmFvepZzXpS6G9ilbVA9luGOiU5s2opSAzeSATgLlLvbz2TQP0iFBa
H3lesFZs+b/bEZncCwA34L79ZTCQiUPUwKoS8aacdgdJgYUd6//6jo0KPtZIKBOb/zx5lRo92Q0f
Bd2DF31V/zFhZi92nP2qmU/QQKjX05ceMQCSv/qW6ulNjFNI6PyLhBgwECmaACcF1LktirUPDKsG
lDm9tOPyIpyyg9X0IJssZ6zrlgu47GUo4yC20udhCz4y+BKrSf+n1rzOYdr2GFF+iNR4aUG5bdMn
R2j/tgmUarAa2ctgHGg3HCY3ODk3hog/DrG+I+ylWN2eY7xFFA98XGANAn2E6QNAcnGNtiTE0lpC
XSqP0dpdBpmPAvdjA6nr3CV8rPO2uc9oz5tfdXAPPM/4JeJORM9tWamuWOaLKIhiX51Y7HBn/Ust
ib0T2kzRY1kK27V/XfL9PLJ/Sg5vLaaLsIO1cugc8bF9JEvLEaPST9s4Z3iJALLk4/r7BhUJ7GM7
JMffBW80/UfbZcfKsbAFrT5gyNglmGr0cNOGFolpnMixWzKjEUxhmFstkS935c1CjMDR/pFo8Tsd
UIWpnR6a1kpOIcf4QCiLQvsgdOguer2qkedZfK3K5iXcdjUjkmuwkzmTS7GCBkBNskvpzEXwpmvG
eDd7IvGsbnCC9U2U4VbobtlmzKgdwRhCEMKZGGfa+jxCicCUM5U3UfFQqPP0qNfJdYgwsqBMIF6W
TW87+ZK+uGhZjwatxo1WJ8+c0Se+wohxOq1rGL6uDXZ0Znqvg6GDd4gjDi/BD7GpG3dZpWSWG09B
FdDZvAUy5ECIGg0ucYBIpEQAutvyK7AXvoAtJIYdMhu7rERPoFTpgYLEBMnHgOEkpvsalz4Nlwec
PjGQ9RZr5Wy/Yykm2Vt1gHIbOxWdOYJw8AlEpMMVjTuSOg1+FIfqd2esflPqj2A9FQ7A+ZzzV91T
UhK8t2/UUX2bEskj2p7kW641UTacpqwfTpnZskqNYKxKwL6Sib99oD+QpigPJuOPabGU4frwR83q
B7LSYwcxmvAtmu4CpPVoAi2dYudhJd8tWROJPVb/nGHMASkl2HqcusgtCoY5tsabSiqbjxOIfJA5
+X1c63ZTU0Qw4YsvdHyAVc2Vs4LmCH1USWbTFqrX6qi+a9CQM+Edx07lFY1Tz/ii0gB3TKYbWyQw
Rl/6UuSYUaUPZh7cdaSFT2MZ96mFAKUFfl1OhDup6pM02jRBe1B8qrGzu8YA2zFvPoyUtRY3iGyn
hXJ+tffwec7qimBgMiu4RfkrpEoyxGdV8jWi7mmfzcYo722AJxhEGq/BAOnOliZzLYtmfB9lSs/X
SPejPf1drQYCioZvYjQUf0QlsPTjnYwnHXWV5HE6oCJPZOJAMJEtGme60CeQHd03u910MhFTxdqq
+P08EPQwDfeM2BI3NaJPFPyMBX9fRNqCiF6AMS7E6a5nZ04/lJI0vFamY6FrBYnOCEXQodedq6UO
9ts0DjJJfpPiqHfTvtmb2izvMckX6CnBdJGoTKZVL8KaInRHFNh90dInLbFKz2I2cBSqXnkCpasP
OpZEu5rrT0OKajjP9hVqA/dA7YhIfU8GVn1IcQ77hnWYa+srIs7HK6RSDRvhKev8PVo8VEQRN2Tj
Fgc2YC4FPTY8uwedmMSNvO/V+qkqGDxIbfe349H06+Y7LVkQyZj81XHG7ZZNvIkGgOZZtHoON14v
QwHgE3CZG/P3Ko+KPxMaykWrZt9ec54WttxWclIueLz43xXFRpFiDeJ5iS5pbWaeMweRJeD8sXsQ
9a1MzDzVoYLWpaswmfsRs/TmjEwU8OhZHKXnWYoeC+M7LviyOxOgCBPNi5GvhQ/+iSY/nMe5NnBO
2YjOtTT9ynvcznOZUoFkJVYCU/Id8Hs7iltuNoTdYJLtGWtjmwmsGAnWoHSaR2rNS4qfbogJ2UAk
lNMBb60wnwwiDAmsa2uG72J8LPEKNaqBYy+OwogjPMiYM1Ba9T+0f7i4zfkXVdHoKmoFKr/VuQuX
IpS0AS56E3Oig81hGWeMx5uK0gddigxVRkUhgD/B9kRsp5ghr1aKwURDSeSmETqpJsmfGhmZzoYJ
haCehLCrh50YuLaoXVsTp8p+RMKgk+TsiuWYebWhnfU0/0qqqeJsOwwW8T5DQXrFrOtXsza+BwpW
jMAFZnNDhRJPuSV067uM1Z9KX/OjIFON2iNLd63K90ruj4OZqD2YRpe7nZxlAAeHt8Icn6wGTqRS
W3wuUXKIbYYbhRr1NzD/3mgpeMCt7CrFw48hNnJrgxUR7OCLJhdJIKnTdOCOejWqIlALs3NTW6sD
RR3bU8fVgvBdEst6is0887lTAnBrcHyiqqPYYBaXmMMG2ssDc0m7MLbQ+IoZl1Bnv/e5YnhCl57T
xnpSm9Gkmii7sNDoaU9WHKCP4NYMcrIVHZfYBQFWlMGHNtKLZkTP0aWoDOOpI5YH4UROq3o8Zpnu
6kiF3AgzwBgjWcqQ6pPIzXyZf/qy1p40W8nE4jHqfuz0rZcsGbsN2fL6m2NP/edcOM+mtvQHblbg
3mZzC+MA+5nR1XdZcbix5zIcZ55rmvIP0xpTkdMySAY0PZipiATQbDvoZfVuqPqDZM9fuihII1BU
vt/4mtHJP1QkP0eFOYU4779AImKnTnjOlE6uMTRW1O50mj0+XZY7NrWadixhO7EDR7KkotMFUFdz
porr+jNWFx63TEx7kxHcWo424xgI0VSbLE+HSdEciy0sAHPptK20QkfpBrVZI2qWPzuYEipGoTjQ
Zdkt3ZUaQ04l7ci07bBK3PWT1kZH44mEZFU6EPvKlgnbsug9dPQbqtyXRsSpqIFc5IOoHe38VE/N
pS/o+zrmEqrAaq0UbyVh98KTMXeg5vaIu/tTKY0vlDE/jmXxZUnJBzjMPP0r5PWoc6vZNUb7WesS
dcEM9kjBFy1H50EtkUfNoTS2Fj2S8iav7b98WQ46RzCOxwpEMxAK9n/WL/3CvdlVf+QlBj5VKYel
bm51Kn02MZIh7tlAPXGNjQtZmiMoSpNrDsZk56lPxs57UDAQsmLFt4wzc1c1G6IWbzCu+TZYcwsl
60DwdV0/DQaVbLRZrtU6/8pIgUQPq094CpvV5Y95rnQ6h0y091Hkj2QdeeagKWdoqURCyOFovEqz
VYXESyVEPTIQtWmBpQvrE62cX1ap4UutWxOgy/Bz+Eeg9NNYJs9WFb1WxFFvvnVKdkKndkS0Sr4l
nTTZkLyS/vghNeq3pjeAllZmHUS2r9KP2rUTjXTHyl2R2+upIR6yiHkFfLrnWWi3LkUma4qCOVed
hUiUgqHQ5oOu82qwqe11Qz87q7HuEb5epIhOSsbXxq1We2ykglcZE4CgI1oSRAPjxZwtz8rLoCza
F7mifzJDoYzmbA3yDgpG3JSPZkdGjUI3yV8ayrt+rBxv4GK/g33ohFEj+WY7PvbaLOgOsYkPsvlq
ckkKlApwgxgE/MWBjE5bPqSPkmyPe1wjYDaz4cdMzNbLQquqadA1fFxqF3NHsgYbkCthOFqRhRRH
o0vgeXQsopk5CqDdMq/2JupbgEzWS4NKOdjqu9xAUbW0byodDNfMMLxVbG9ZZm9yH5J5Et5B21wH
i8cxWQoSWjKuP4suHWtZfSqm7t2qeqJflhU1cblcc0uQ8jsPAClSEwU3sM3E0OGfgTom0WDxlpQt
DG3YJvbusEDBi8vn8TKD86FqY36BI6vbL+UyBYtSz3tJE5hz+SfEjNrbkFnnoZ2mYJWIfdf1tT7V
+eyb2YofTG7I/zCyJyuWykOtGjet1Ugs2kSI21afy9ZRjmqAaFnHMwejKrEixe3AqgaI2WFXSLGx
1+S58zAIfiWduE9d86BaieVp2FLw6y+nQplEoFoWwQqGc5nKVRzALB3Q6z4w/zVOqIU9HeJk2JSc
ruVCIsSY0HBq4T/EFPbbWW2iYncnyrQsoWpyGHG7Rpdw1SVghnYag8ppbUHwl2E56Nw1E3b2eaWE
VwRyatW0uclZES7cerNOofuReZDIpDgLBlA1yoSHeZreooy4BRMwMrr3BCcoRtfa0gRG1999MXsZ
txfvKHSKzY6uK2G04RSNPdrjsvCFTqsV9VxU45uEge4KU3w3pfSnQJmPG3HGupxzKpBQ6E/bB6ga
4qDAf+BCaQdk27jMr3VvAuMSVlYmyEog5zWJjKCrnFfb6KB463ymVd51PuwVrAqbxlk/Fos4mUZ5
SyS6hp3DiYm/gBsLwVB02vhkqmAyLR6ffN4pS15RUHbaTpcl0wVkFJCwgi13W1899M8QfTupp2Vb
+BMrp5CkjvLtrwm1gqRx9dWJ6d8Wld/FkD1yEVMa/TGFMp1jj4p7hicg0N8q8rGfaD5WCOv8RSl+
KtOEkZOQs2QYXMujoe/9TmHNs7i33Bjr2xhamoIFr0xIOnnm0sOYkYIyz+eqgpKyzmr+qDfSV0X0
UZxbnio3n4BiMf3FothzFCnHGOzOj7o2ToiZHIhyt/SAgcnQNjIguhrEBlwElEAqmNglucAl2EMr
h9mNEzek23tLgbBKkOfJ30Dk3Dr5dzWzvy9Om4XVC+NRn5jyyB0NMh1aq63d37yxHDr3PBjYqpUR
tLxF1ruT0J4zWH+2ZF4R04L8VyvpblWj7aXaZLi9DH9rjUixs0RZ7YRJJwihGRtQTMhgpaP35C4o
9/a9s5fen6G/5CoqzWn2iAEpb+nyuXZOFtJFuZhSJXEpd9hNiq9UckoI9WTqACzDdoIORrW2JiBB
Fzsiph4m1W64EpvIV6eaca8uwWVgHIAp4a1Rhu1urZqBUMwH0MgfUS8fCqd2y7G8S99GFJ0AX1tu
WayWuyTGrV3SoG80wigJgDfGJEApeRj09rM1DgiRYnqklOSdEX2ZURrgS7tyuQocXfirY+ChSRV0
n6b9toXtmXhKRwtQToVRVzJpY7f4cTqe94l3YdfiMxckM2QO2ym9UbAQfi3Gb4eUgh3e8quZI/PO
Yy7uWYdk6Wk2z5q5gBZCC+2jPeSKuM2/e0S/jdmd4ybCzjAod4kQGpXkSm/cioxEUjzZSG6EWiJL
rbG+13Bo5Fx7i1Ab6G37aZOqxBcu3bihfoJARkmxvGWxfWZOcOsUNrtJOjYkgu1WVXzO+dK4U1Pv
0VGthBbVnzQG39JZu6+Sfp9y0kX66SIxc9zlmlNAecgajxX/2YGF06XqDxNu6jpJnJxukCGZSBvS
uIH03jwVTVK4HYdlvhoS4SZokhflvW+3QJzUOZeshV2t1X81YEq8b/YzofHL8loqyke72HwsJIUy
1aRKxLkBNIudfIAZ3bZgZioBSmrbF6BhHxEhYwpf9nKkc4q0WUcdMyFJnpPL6ES+QllbMB8ifspC
R6Y/1VjHoH4ASU8pAiV+CvYgYHadjdUGcnBvMGYxycdxxx5XszgsPJKQ3KMxlGWoDJNdWm6TZdOt
JsjJsuYPVM0ehTY+fl3yM/xjRBTMjxSSpNcaEIrBqaeqeSEXeb0snfW2Gua7bI6pp5ZcnRKMzITe
X5Mtk0FPiEobMyp3OR64dMIcNXOOmWSTCP4WeUVMF0GH7dDLWZBI6ZfIl/naGWz7KZZ2rC2IWHRq
v3XBI9NbVkMuX/2Mg8S+GTkdvSWeSRoyl+agqmTumVHv3Caim8t/0+h8EYb+KBGfsTOc9s9MGDzf
DtWOfZfEzJ+XwRcpHPIJjJjAPy5GwKPkwnYn7BA7LVvoKW+Fba/tjUggueOxKjTk4FZ5s4uerzBj
g5wTnNz4AVxn4FpiKdZ9JJFetLg5pHGCsIWubLuwtC0tImUai5Mh3bqKQDMoNo8zaU3niYnDzZQh
esuvSKDSoEMyfDTm9C0b2vgoAXQI8kWDEiknp5pZ3U4W5ovRTvq+0B9pC6RQpMzoVHJ3Qa+6a1u0
UKLMn0bMX1eTYKW6L0RIaH0W6kqY2at0yWvtnizzN0A+ZkM0/U9c9sTJ0EgomUvHqyRGMBHV/DCv
nCZdzaEb80WokclOxWdmW7VDA1DchfFSSml80HRwCNJbK7xF6WkVCPsYNfSv2u2e+nsWxhI/IFOf
UABwGszmNTY4su0hJ+qTBnBJU9UvjEur2ZEnGRsOorHuuC/gt8+ooclhCtKoYzY6M0aU+fJ+N3oU
C9Wum6JbbzQZ6Xfp1+/SlTKXEp/AVyJl2+0GmtD2m6SfQtG5CGnOGdr8o6zgBC7z8ZpCN0eDBQt/
igiYasYPfbau9ghy7vc5p1750QTfu5p9iVShr9w2P0MMoiHixwKzwADW1Boo/CT8XQ1j4dyd7TXW
23WrzVev3xxG+Du4EdFHbMmc9eoKNkOy0AiFYmM2jHsRbuznlBg3p+E0SzZWSaaRvKHYJmAPQz2q
mfPpTIxJ00j3m8Je9riDkelaZI7IyrBtRIQmRnBS+HKi26A/azQWj1YNSqYufLaf3k/BktL8p1ST
bd9ZOZXXbmD0jX0x4BPKRmwYypIOHsEKmJosnkGtXLmf8CJV6g11naR9T06x01I+UXtxc5Ql357l
n1RpFN9JyH0fraNCwvzaJc5R6wBsogrQvMTq5+vv3w3dqHgsVIWB/pwGTpSC97GrmjBNx01ljog+
Hqe9rqGRm7gdu41mV560NC8GbHaof3trvqkSz2wGw2kXJzA7qnlB/WyzW8fKm5pGJ+aVxVEZsY6Q
lcJ7dmTlgbSA+FBPY0wEUOQlWUzVw/m4F9L8aNiyRcOiTB96ufhX6JwysymIO+D6aEZq8d5mWihk
Bzyp/qfOk/m2GjhYovQxoTMTxGv2XckWY1JS0RDaaJ4+RB/GKJFExct3m/JjmbBajVPBrdG6VIm3
rgMSWrPPro6DS6tdIWHFaftW5RHdKIqpLbWn67xEyd4XXjnP5JCRvkdt18SOl+KKQIpdn2uDzoLa
ar0/tE0aWrX5d2IAb6gFz2yT1q5hxxv4o/hj1e3jtB1oq/GgNeBxnI7kgkTLRp8xWAXtf/kZ+vGU
YS1iBU6PI3XEzki7PyhXQ1r/31GTXqS+UrxCw6mvJlgsS4e5RhqvVIdx9Bb3kvRhjVDPeo8K6F63
44C2uvvnMJf3iP2ydfq9TU+aAwN6xKkZWKSF0aqnZylBU5bxoaZwyOW8BgIC/Ym43fYB5NIZ8zxD
pBJPGBEQ17Jp1bBSIR8YeUf6FQMsUBuf0lRV93mgFevkRUhf66VatsSGVHVVbqwu6eGaKzvMP1MN
pH5H6h+NsauVL9ne0DC5cbvZuuDzeNYhw/gDCKNGj15UyrNm1MkciJK7ogsk7iSBcQ1c9EPEX7Wo
rkzHj5EJ3GyyMucYV/ZlUVARgSz8LHoIMnNRKCHooMwrWLxBBPgFwsMoYEAz/NQrnLP58qMyEPGw
xoFip7cU6nn1XiUMOx11pjnElD9I5mCMzOmktg5ICghHyBK5HalqOGckbcsE6zEnqgnYjNG1Z9Ig
ozaBvtTEm3ZC8Q2dLBtnqaZnvNs1okaOUC42jiuY9dkgdJ8s3UeAboZAch4nIHngDWeKcNvcV5IG
OC0bHwjDIB5hLfEx5qpfrRHNFOqhuDXsQCmsh8aKFcoOJ+mOv7/UnOJHjWgMIlyq9f9/q8osMKXT
e5n+MEFjbdVd//utzA/5T7//b9sLkvN+f0Iq32HcAF5Yt8oCvXivj5iv+R7px/Njs7JPgd1FL3IM
K3mtLncQcOKhmLSYIVushVQ2UHZH1UGBshLdyRPgao2CED5pnP0GKpVgJcxZ/ABMU/p8MlfAcl0H
I3HZIiIr9avqrX/5bcHZfkj7ogyaJXpouumUQ/F65D2kR7kZWNeGb9nA1kCXOg+y2pBqglNoidX0
VqVMj8nZzRHA/DMM9rFS1i2EbTnzff68Z4UDfbWl52jaaXnhnKVJ3zwPNTnIzZ88yXs6CdOfjFCt
co7Gi2yitZxsvUQdgKurcLRLLKCJLQjfQy1dX2agVmT10DolUIsI83IOsQ0QoNuUFC+lMV7aOqtQ
tMwkKFLrqVyZyqwKUkc7YUHOuVnnT2VZi4DAClJHEWZkKLlXdF/szTPfYDm89XV0NvPmecklxrRq
/2iKvAcYA2sj6sSJnhQsUGjHfl+MxlGC2kdJlesHDd0fSUy4KROlZkPo3dyqf2gtckk3ijcHXmmZ
WsFkRKjxy6OIQRCJdodl/iSX25OuI89ztDl9qrT6Ok6gRBM6h74Sd86RKf6hlZkuT2odkKVE6UNw
cFaWjNyRVtkbtTxxkIJN6YQ+3dK667Byg4q7/qrJahmuAE62NpoTdozV6D4YwwsqHTIK1yUgPKTZ
BLLpQyI7+wnUHBXpEW/4v6Wy8zcEFWSuKnB54/lQdWg/0oRpcwuOE1sNvbxq7EcfCMQQQNhBPLuA
2izKFo5AwuiryWPfJMJqN0g8/3nTfBPXCv0wsZ+aZqIzsaHz24XRdLbJkMbEyE76bIDsFCZcMrME
XgGTKZuAXYHRdn7VxvVPphlg/Je/Q9IiK0p1kumNE7M3j8YQzUhFI1MlEpA0qZ/jASZbOhhXfVEi
btBEx/TJqj+bj7aUDrchBV1L0KJfyptHVV4rGJ+R6ZnKZB0qrI6SVZZ+wXTrKNCj8qiM1oWk6ykk
cJumGQX5nnAv+5TRLjokneQcxzFyDq3WJTg6eBss//IAF0U71XLdUYM46tkcoDuBJNAuWdTYQa6N
xrWOmLBnyaVr9Qi6AwoWnPDyo6VElV+1kNpJkAOxJAFy7esuflLoQ3rYjscnOrCDN0mG9KRNNu4M
rvN2XM7Pvc5oXUh9em91Enok0cr3wWkXN9at8gXJjgD5BpGzTIhgchiUH5SIgkrnCXNNzPGvE2WM
S76ieHUE6CwDT8JrHHE3neWheu2JjHGb2SxeFdvO6RQwF5YFvE3al9lrt/1QdRGE0yL+cBUlj1+j
hflSzyX1Bb5gBQLCsV/YmGjId431gryqdpVRF49R7vjgh1Q63MijbIEi8fcfwe+oVyOqMW+k70OB
zbaZmK1HjsRosZUek8wwDqnZTdco1sdr36fTdaoa7TwkzDG3f9+3U7+lFo7MqSzj0in9CW34XhlM
+7XP7Zd+QhdZrV/FPKXegCF/10hKjg88/pOtveEWsGJdPe4sz5x1hU8pm+FlQlrsMHMw0OaLkOZa
8dC6/WVeuQQpOWe0qU3db2tmo0JWMGFwL6Exkmt+3pef0rKeZVmpHzMzm8K1uU6TVofwCK3HlVcs
ZeCE4+zo4Cp9Kg22YybAUGAhbT6VY4Uuitcf5cI65RMGe6VjIqg3KCXgT2yCHRDOdSJogOPTThMT
XYA14ooemZ5MkY1prSeyUgxPfZydejhJYdtNTGuM/FGk6X4QU3acN81XtLLJjyPzZJCu56i2J5fo
lai1TJ/GPjc7rlMcAv0HUfYrqao6pJNFfNvEyZlYKdVt146LRtqZ5SC8oSqpj4TBbHSra5mSuBNy
UDZ3NpFq7M6t4GgAf8DUzwzXGCEWQjDYeSphvXaiOT4qSnOn1R0X9mKUWVX2etYM07xkXDYpmhwo
KctwwpKs7ypawA9WnZ2ZfJ06LIw7neTroLFT9cCGMO9ZfgYv7EEa5xYR6xpM2PgvswUEnMBppCDW
yi2tSAzQDaD49BlP+8I9hIwzKoeMwaKevYCqbR/jZVZ3Gk0xtu0VyEYL7UhDO5q+ruu4PsW0Ec5W
i7al0uTo0iVT4moicQdHdo5I4ly8djqz/4KtJBYudALLW2Z6ArzJ9QDyZX208HbQqbvYspJfO9sM
lmnAnJSO3PMsy8YsCFJvSJNyV8hLCOJsq8vUB6aCCFU17U3Kmn9LIV4ShMysrOXBbBiWA5DULjiF
IGt3I3xcdi3ongZNy5pe7SCysxx1NAWyZWM7Tw8ILWaL7ZiYIMxtsh75wCoqbPTjWz0zH1lkHFHp
QByUPuvTidQFLVSthx7kuAf0ctkNjVoeJVIT2PWH84y87GAv40QUTt2euZld4zUag4H1xmgddp+c
1HfKOgW1kXkSszMf+xkTuSLGLmz0wWccOwRUJsXRsCThTwtKvDr+I8kOsndaxuEytI/LXHI0CEXf
c4a+qyplUKLZW/NnLywBO0WSXb0rsqDCuBhGudb6ToS4qjfj42CXHJ6NuHUaFfDIhQA+5EQPtUo0
b51nZrGRfOZms7AYx7NlAdmcC3GaO/Pht3Dkk9yJ0pTCpF33cGVi2gUoCEYjRJNq3iQT3Hg7GJt7
Wh/I0bYg9iHHBc1u+rlMHd3KKspwKb6CWmvO3Up5IWkLlApTp60TgbpGhW+5E7QVGlfZqxZHxTFf
q4Mpq+bJMfvzkhn9HuPOo1EvdEmgpAFF1IeDlU7UQn1cKKe4HpQTJm7Jb7bD//ff/f4ybv81Wh1k
aYZYaFaXneGVpqXthdntY8OSwec0sEBNkQV61JYHjZzQU7r9h9+/U8EXeKSlbh1xjD32xcYHdhuJ
HFcJxvZQKpgEM+1Qidq38X1C7n4n/PAAgPCxerc/xr/OWWFcmLwpUiDR+PW5VumvlAs6jIadovvT
zQYE+QnnuZ9uXQtzn917t7VVFpcYYkiayp94DJow28v7IoRH+pd/8VA/m/xWZPQgVBXIJK/qLe2u
6x8rA4bjIrIzHuFoCNrXL9Y5DdaLJAfS/hUYQJ3R5N6tDyUkvzsjQvnLOqjXTHO15/zLtEDTe2uz
k0O4hLlXfTd3+BxOe7GahzHxzFv8inuta7/G5sKGQJy1xjnCKLM6KR2snR1Z2kMcQGUeLiijgfTS
tmaZOXaYkp4miiCDWwstegfO+auWd8O+LC62dZekv7x1xHmB9pL3LtIeekzTd3tAWNIzivzsyei5
6si0iPk+NlAn7uUzt269OiyKLyNXZO+44SEZDtVr9ip9ICWglYTtwa/DwfC1V/2rgJ8n77A4rsm/
/qK9OMeMpbofSrTH+5hh4m48tWf0bZBys4/xEwyDdks8+5E3t7j63zmc3pr5OL4n9+FVCYD+I7W9
YPpq1t3yzKmGhCik4lR85CLjVbd2uGELVBi76kUmJbzfSfcMejYA69Efey/qr+tDN3nZGZBOgoYS
R8K0Kwx3ytzuuD5Pe+wvdcCwR8p8plsnC5MbeIljdS5flQfjDoBWN29kbgIzji76kZiqkdRp5hDP
8s26q+TLs3Ckg8y6br334Yg3YKU3nLnSuTzZFxrHFJL37FAQBqoxptubyz5+Y2AHsvSfuLR/pNt8
LFDoh1CVff30gnDSTy4lb+Yt7VwENXST/3ZceT+FR+/vqnzPtPt3htdic3ggjKr/wA7xxgZcagfQ
ikoaAhxDiQFfz7w6hwTxdedahwVKr3bIXoCUDVSy89Giycyj6g33Nqiu1OFoCRZyhY/Ja7Hpqj2+
kY4Ri/C6s7rLjvHz/CKF2dUI04P1IqpHIz2YsRfF3ptyw3d84G6aQ/F/w0qY/xOn0mUb7GiW0FsN
Yp1zZ9f9gXH1Lk4kJSRvQ6B70lO6g5HG7+j3CeZBvt7r/FkcxQWmYPg5J2531sIGXuWu9YD+veUf
GEKerRsal/pdh47r4VQhhyKNffDi/U/2A8UU8USHE9jXrrL22O+VE02f6YOtTPtizrcJ6lGAh3S/
C2R5V40PBqXmvnp2vozcbT/qF8llZNKE+r0/wUdpp73y1X3Iuc+g1fGlS3sgNQAVKFmgrv3eHuxn
JXGnv+YO2FM4PJTPm6MHKS5gs33+XBDfeadXlPV8pbSD5LseqH+79+wzYkzlW6FxW62dIA3Ts5+p
E9cf8k/7Yl+e5Wft5tyS7EAbLDqsNJCvfEIU69kxt3fdlwR/JeS6UfmMicxjcqwfzPcpsD6isziB
u903P12QRG72RQrrMsAVOVlMT/jhgCB2A6C1es+c7jRYT8WtoNcVjKAfX+jbv8uamz9kBLhzacJp
s4f7gxgZad30E8sXyPLgLLapzzc6zuV/pJ1Xb+NY1GX/y7wTYA6vVKKiLUu2bL8QdtnFnDN//Sx6
BphqWbDxYR7aqK7qLlHk5Q3n7L32gAHm0CGtUWZAP8oznoWCtYZBgxV4sHNyi9O5xt5zisRcc+ft
/Ml/Ewy8RrPqDyfWflEPsFhtmrEQAhaVI937qI9XYTTXt80uKHnYDKZUmk1L06R9sM27/CjWVAnn
LktWsBW6FbwjBNDI6/RFtXEfVejHEHzKBwSR/XgvnIjwGh7CR/TcAqVgO05WlbqQ9oOD8U516JkS
r/3e/vEOJlzjeTsXF/VOOPX31m68E2iismPYWztP27ufHfEpO2HJKREfhnJmRZTYuz1rZ+PeePFO
LAkvxlr5EHaVw/sXcqinYAA8tZr5TvlUbhADBShFZ+IdiSYzfvdF/+ttkYl7NF9t+UWi0N/ZdCRa
eqSOdLCI/17RyLXISkOnMEMALAJoshbmqYSS8Vf0FsImfBV5pA9Aiu+K5i3cJRcgR1TtcDIHkOtn
nNqQyWRz/iWr72KmssF1CuZDsVup66qYe+tkWIZ/rfoJVAgJztBnanUPB45Gr2DNJ3w90yHq2nnz
kqyr3KGlhKYC2rG4Fva0YFFZD3MFsQwNEIdYr3Qlgg5fwAzqZv7CQJp9VLD8L+snay+Jq3yLCRK4
HFECO31l8ZpId8JztKgdtu7Qbj+9fUhCzIfYrnXm1PtBIktl2cyNZIVOmE2Q+id1auJTaHcA/Xps
awJqZnI667fIfP1FdkhfrGf26KDiBNswoEjPhTfq/Mhx3Q+Q2qCk7kElle6InsWu3y3yCHH3iPvS
ZVqYC0f95LVHvd+M23heraqZhwFoVew9u31PL/J5eE5oGr1T+vE35jY9JOqievGfchJz/vDKSZ6N
f/1deODuLqUNgGJumNHdcSPGYgbAJThHvmNZx7Ajangt00arKWvylHinbeVCXJRuLvq1Fu0ku3Wk
1YhI47l2IFRDZyJVQv9wwSb082qmi1tXnBv79m8tOlD9IcmFySp9qhAMztpH4WXkTreLjsPYnbkN
FPpNcJUe4m2cbl3H4uxvFzvfAY1vHZs7hIlZDyFlSaTxWgGIDtPsIdQcoVtWjwIOjMSuXQw0dsLN
22JQHBZyQPvZ6e60ZqdD78LGtzP+ZoztwNaAq+zpyWtHInUV4TSw3whm2lN57JDJv6doLhcCTo97
YekhqUFZa6BMtlUwxVSjVvnKdMiSL8c7RlgFNnctpXNfBM1Ad81utvA8TKxIIAQe+O8NeEK4DcDZ
P/TtFhrjpK2E1IBnMrF1f0lgjqltOLMH+pGdQpg96uq+rueVeeYgKTR7Nmz5Z/lQW6c6dFy2oa9h
spaOTFDIn+TgkaJg+lDdBXcpnspNVyy8U3OJilVE40VjjsI4NDfWJhuX/I9ozHwW/Sftrif1eFhy
KkYZoMM0OxTRhuIc2zlUSMHBezNf5T2TRPwZHttXg9qd0y6U12xXrP1Ns61f1Ic8Xg10hNGUnhTy
fcggwQPlj6Di56RuG471WidEiTA5bjMF2N9dasyxAPqkyd954yn7yF9zH+cGKE47MNmaf3raArtH
+hdvV6J+4i0bnvEuYsOKwdejANWwMAKjtol6uQOWLW4ok57TVdBsqxPdTvciCPa4H/9mO/2UPYfm
zHXMs8f2a5M+4UGdKfWsx5u3z7V5zsPCOgIjjJeVp8RgOxbSrESBMosf2cfV6ZuHO5/S6L6nrnfh
OjGHYh5g+dpE6LoB8jzQcXPzi9YehfvkhFOmV22243SvQ6Si74g9x08WtgJjxNZjK2Gb7la8oFs5
VZw6NoJCtpLtHkyH7DpuXzvOtKNG4oYdPg1Llz3qOwNfIClzw74Vw8+cgnn6GhTz8rPZwXbhlWF5
QlWHIP+JFBph4zrsW+ZgELcKSQNLED9Lcx3szV2OF8xkFzwz9v4dOwfvlXcm3rZgg7DAqCvC6POT
Pm7ycDn5bSMU7IvSOrtYYxht2kY7GIndb6mrU6dQHRcHX76MeCPkWX6i/eu9SkxY7KjCOcaSlMia
VfzkwjfKPl6E17x/FbMjOeXFM1VnT1i7S3ZQAUkUNkJqtmd9ee6JvDYfmnzhEp5xrAECs/eBVPrB
w2BVjdjGc6BZw+rbJ+f+0Qzs9tUy5mCHfJsq+wdQee2MoYXu5JRJc1/S8lsWF9HhMboPLpIi0ITV
1mfjJy8pBJuy4wNLY0Mwb5fqJjlCcINZy/y5idfxLntrSVzZxmcPJradwaG5NAh2PikEPKjv9Gc4
iLJhNRfYZKwdimVSZBGLb4L79IHLlu7FV/GonClm8LG4ozgjvOD1aVEkI2ffZnMerrCNX6ndcVCI
Pyt3i4Bk6rKfvQ9m40TYoKiqD+YFw+57+Ld0Qlp6a3Ln/7g7E7Omy5mPPbKd7a0HvIzU9fJdt0kg
kcyrhf+RhPSwOA85tY1K5rnchAvWKMZL80ypgPW6eab0UQP3x9gyl+fenfogvCRL8Q+hd0S0V7yq
9xHzIcJPbnn9BhBH/VP+ZdXqyAQi7Qjc5NqHY79w/7jb6uKV2xAx75rQiLmxSbC5+fMCPqm5FpfF
i6UzE/GGcrP/IqEXNBueLYsPWom52y+1lXUsj/UjYs6LOcCdnVP15U3nWBYth53/xq46/MvsJ8Vz
PZjH7wMFPs/+bHNUlku2TeizWeXrS3P0lV38oT0zOh+CN3eVOBaxNsHc2hoHCX/hB70FRBfW+ORT
wFwYClJ4W30VdqIDN1FZWIMdzJn99S2tk7m/Z1j1sJnW1cbHAn8vnabJZhKJcYYz1tJ9Ph1iTToM
K+p53mF4lJ6fC4m2/JyyD01bPOcsjMUr4UHkui3VAwOHh+Qf5a3/if3VfCCpJPgbnts/LALCSVqm
L+l5SCC0zvQjoSpr48QcxUthfNB12ym7YRNiFH6JQDcQpnLiL+tfam/ejGtCNijeDuHMX7Mjdj9R
jnNcR3sbfqocMdgZqSgnbX+PvUp8YJYHxoXdYh/igTlnh+wNObq1m+qbAl2fhfvgnXzeJ9u9xJ+M
4faZLfSwQY8pHoM7piOZKQfLGfyiWXWpLtpLdWF69B/ELUaC+2LZXTi7qvt0Jy2N7To6igvjueRt
KxCUZksmTyZL7YW99WP72jl0Yy75IwI1sg/RkW5attLL4ZkDuxvY1Q5wilzMq6VIy49m35O1YTS9
l8dCoCwzixCFkTl0Np+HfmvN24P7p+svYbUUkpUmrjKVs6WNqt8xDhGlf14bHD4c4jpsjLb4Mr1A
/aHotvlfd6nJzqguE3YAzVIsHBhpKD5W2nY45HfMgmgOrc3AxZar8kHb9CvugLhTFhUNwUc8xr4d
UQ9Kn3oNL9A6YKGkuXWYts94Cd9TtmX+ol+IH4W5iqoFE/iFBMF0Ei7YuWPs87fqGTuFzMFTOgqP
wUSoJS6C7r66MhBBd8RSQTht3M3Xr6Jeh6YdkfxWjSQ8GSWvNOJ9DE2vXuTy8JSog5bZBVKwxSvr
T4kkX78PxGqWQFFjqBB5UUmtuYAciQIo4mAXhBimlDF+FmKY2Eat8b31CkCUqKX80jOjDY5DOn4h
7pKAvRcqZRSiXXMfiWGxilOux89brM4DL0M3/QiR3cwaOht4vEcFGRx8N6lnu9Rn//dHb5Z7yFb6
ClhmvCFXjRalyoYyLkE9Wp/WZ1YRzGUJjdnYyLkowqJPWCS5wEnl64c+km8oeCuaCxQxERjnC5jy
bB9884LIsnR8qKmT7hELIoVnFe8pSg5KtMP4IWrhWYjuPSoWXe6ZiAYkrM/lAXzUhxwBb01DDnO6
eXT5vmS50/4ryM/JCs5cLqRrwGsDJ6LhU8ndvUvGGVtYQMZq8xzq8oRgFvEf8yAaVXbQK0OP7EaW
x/5oVE20GrFaUJmhcebmT2p1GVTUq9OvA7MvUItUH0IYni3o72VfPdTCGDFHqrOsj986PaeEOlyG
XFBWtSo6VNaX0mDcR4Pn5IJ8UDh4Wq37kErqyXA5HBmyZkf6wImlVByZ0BCX5s6iq82nnDCaZeSh
BnL78bEb5TseBxsYCF7UifIPU2h922ibeSn2f0xZEzaW6+PoI29Rgc+c9tW6wWXFPBPH69Jg62r0
TicO/qEUMJ1gxhhWbtGsWtEjeEmdupiVsTdjizQJQIG21VIMLBLKQeB2V5Yl/xkoGi9M2SC+E3EG
GDEX/+hlbLS/aofwUQA2ZUcNCOaY7UIjNhsM7Iew8DkNwx/7X/8P8XOLXAMC6IqwgnjJ0HRLxZ3J
h14BXfQ+ltNWMEunU+FDZBaYgpb1QnaDdZUQUwyruVTDTQ6lDETF8Pjzx3/nu0yfbkmKaOp0iNQr
vovRa32tZUbpiFH31+3VuVh5lA7IvrKFSaDkljrVLpDhv2BsJLBD3762JCuGZWo0t1R5urB/yDli
BYxP7qWSTkvi2iVOsVJfBUZ3P+h44UcRNX1S7rHh7XULPSftZE62mbJWrW7z8y2Qpu/4X8aNjK7L
kBVVtSyu6OoJSJEmDshDS8cVwSKEBbFPovDpZzCqhTv/zsvpT05AGIZvT/esfdTcYgSEu8xab/hl
OHwLZTBlS5bQoiqmqsnW9bVogSvJQhbQKy9Iv0xDFvgJK0DOwJuPF80VTPWXJ6HcGoAyFg8Di4mo
q/rVk4jo2I15LpSOnlLuM7rk0VA0dJLstJqxRrzJ7Tek+jXPwasnpIjhRC16tvbIAXCZxIR7uxB8
KaKJWGkJQmCvr2r8T260xHaL46osnwAGLvMBZWqd8HjzhhZ4ATmCAxHisEVg1sefH+qtZyqTboFF
1pyoV1fjmnCynFXJqxwzYSHUwcPYetH98vJ8DdLrkaPIvDuaCH/LMOT/DuIep/NQW3LptKV2hk1z
bBNj2xkUv2vemJwSrNGlxzGHL+xZ/KIjjCHU9vg/QMJ38VH3GVFxld93O1c1dzz7VW6qn1Y9MUvy
17go9yMRdZC3i5VYufdi4//NyqRc/nyz5G/0LEadIuuaLFqmZEnqNET+eRktTe0lT4azC00ERaaR
QSvQ0TjRahkSnulYBomTGApREv5CnMrKBOyV8ZMnQQP1Iwgjev/pWfKnGZWP1cRcUDxoBRDy7t3E
LH95R27OHYpK425ijsn615//c7lKRWqBEXC5jKxZQ0oVepwclDzUCylpHyNa6pOn/7XXtqFC7dJD
AEdNBvS0WP92LbfeHoWJW1RR1CMMvRoCHsISSTCH0ok0uicGFPP5RBsZfGpCBfmhnsb7VLe02D3a
GJ2ffPz87G6+voqlyaoI501nIF49O/wm/2cM9giK5qUkU2QmA6Qah0ezCUnfUjK7mt48fFkRQJDp
4bTyKTSpK004mR6bHDb2/tOdgCgjYv9ZHUqftRFRcPX2eZzD7ok5ZVs19v7h3PruO5yILTZKCqZh
u5koS/WEofr5i0m376ypG6zGsmp+m5fQoDKAxNKpsq3WUGLXFVyBqNbICqv3dYiWeJSsdUzhPIT8
8vOn31oXGWET8UwEuKdcrQlq76qNmrAmDBOnR6A00Y10U9suXEme8RhqKQWSrv7lO9+atVQRYpIK
3weS3RVOLuqbtB3irnTGnmeJ4OZVJ37752/222dcfTPS0mR8ogxYRH77US+JfUh+mXxvjkleBkmx
eC9ocl+PSaJpulKueSkKaal0tAAGZhGrZ4BpWUpi54QJUoOFVjR7/DJHTE0049EPx/EudottULb7
VsQfasrSvBtiulQGFQN/8F+D3FvWFQrgVmEkN8Lw6OeszcMEjPKMhzxw3yfgmOmi0vj5xknTq/zf
2V4RRc1UTOYeC8n+1ZqianmjCMCCHA9xul2zjNtqnCxkRFCzMOE1Iw32EXc3LQdwN55Q0DXJ2frm
Vjr/+VJIgfp+JYYJdlnWZMm4nnQK3RDNIVcKp0j/Ch7Ndl+mfm3UpB3rw7Eva3erAKzwle3Pn/t9
d4Jq0kRYZ+imrJhfd+ifidfypHoso7gg/tqfGzLvZMXNnmV5ix+NSbd0f9sPTSP+6p7z/UzNwDhP
POT17tiqgoAgYRN3mEq2Yogym63sc16GTz9/s5ufo8qixANmNlenb/7PN9M5wylWaWSOSe1mdOWV
0GFmKNxf9prm922vIhn/fM7VZktQYt1FOJI5IClqgWwJNN+c8nVb6JEFSJlKX/EhDrJ1VoU983b+
ooZrowjPfH1qDW3TLgVr0lwpyUJBjyUpZH+G7ITs0U+44nQw+TPIBx0KtkIFcNN41IxUq8d+n4vp
Cn6osOg1EUUvdJ/GMhFVuN6JrL65LLsc80NlrRWVt4SLnSV+sutUOnRSa2Qzy1MRwGf1ws/GP/jM
hXXHgRLPZIc8kl5+3vxpTRF5QeQTg1rgFwMo8taRjK7iMTC9vkavZr5IBkoJsI855qaunmdrZEjS
GR/jxvT8ly7RRYSr0HW0Xj16uf9XhIk3j1w62IZmUsMcScIpNe1ZXMrheM+huVi5VFgz8pZt8sR0
Ap0QD5A0+xSM49kL7n4eKdKNhYkNpaExGYgow7Tr3VIcj4LCMS1zwgQggOx3pzZOj0onn8zSeqca
0driEB2x81ysJLyvLF8F0tRh9d9lgbYZUvWEef1Zk6Y0wfxxFOJXSVdiVuq6tLNYXo2DT2Gn0OeB
6D2VrU6+GhFkM0yJq94VP8oKf7URHbG10aVS/aespXUqAARVrPe4605abR3GujnJESXXlgiXMKUh
kliHsiBWBRthrfI/hDFJYX0z9zu8nOExkdUdXpKjXLcnLHNe+REO6VpRpI/Bk1auYBzgwUS2Uspv
TSqtyBlaZAG33SWzRIWUTalpUZQj4go8C7PpOmW1i+aV0Zx8Xfr4+v9afVdl1RH17bxqIVTIyPnq
2Nr0iutotAWbUnyrCF1ze+Y0SX1W5HSNz2ITB+l+9OV7T1PvvAg2hF8+CmO2x+0Cc8f3H/0uein9
fNzVPkwe1xMe6rTaq43xYWk61XyzvGTYEe9JqcS7ld5jjcseOIMyplwMV7+MkBsLhWxBS6X4pKHK
NK4mEzeBWiqXA+poMGSZVw6bGnLpTIcmDYhBWwaJ9REgYEeSUSJnEXnsUdXTBHWVzvnlWqbl/GoC
VcikBjdhwfKwro8oVFnatsuTzAEHgjx9E4E2n4xqycJEL9foUrtBeC/OhLx76436j5SJp6pEWeP7
prrI2pxuoil4667uf1nEpO+nDoUTmqjrUNuhYl7P7aU3tILf6KnjYRmg3pWbSGVpvCAu97ZuX764
yQid0JBjpzLgbPlCt24a0f1lUVNuXAd8W9Yz09T45/qsWA+R2blDA17WfIQIkKzw/yXC4osbgqnD
7sN+2KYx4kQlW5cTTaOePOdqayErjkMcjfofLdnG2Akoy/f38P5GsnYE5E8YS6b0ZdlCOeuW9XzU
hXulJYvVD2oZ4hxsLTUbl26j21g24v/54UThfKSAZNCobcjy1T6siuo8jvBUQWhtDrVs0Xov32BQ
kSZYnosuPcfNgPRHGYHFZG8/j7zvO2h1Wk0lAyS0YWna1T4zanPcTVKIHcWk3YRficCC4Uy1bhno
xa6Tk4dRQDz084feGFPs2sFdGwYbI0XUr75xXmVZ47VN7GQRkk+0hHlUvY16A/QjvNNcdNIpHrn+
LQmNIyrqj58//msL+N+3TRUVvrYsqZKua9cbM6D9earGReyMWk3mt0jCmanLSO/EGaXVuzDWjy3m
ANrbJMamAmiLjupE0ap2L5qXslHOzfTHZhDdDRVe/rw3qZhkb8PwoDR7MH6bMMOib5S/Pa3v0wQX
zqGDTbumcfnTlPbP/qfQqFvrTcKFY7r3FdzAo/kRYsL3Ov2X08GtgaFQ9NO5TeyEtKuP8pEKu2Zt
RU4UwTUwcHh4xirRmj0wfDL0wFRFtXX5+cF83zDz9SCmK0DOp8nmetul5oA1BTNCCcRfb+Vv2SCd
QTLMxVx6/LrlkZssVNn4ZTx+31aqIkdyRZw263zw1UugVRQxateIHKFpiO5oHVWN7gJd3P389aRb
91QTKXcpJmRB+bqMy7arDwL+bqIWtaPecobPeNEouLFUZi+FoOwiVV6GorY0YQuoFbNsqeC0agbS
xZwUSJUGB240LoL728i6sV3iHkgi+3dTFnVOhP8dWr0g92lIdhhaaWU7Bv5J0XrmAHdHWO+2aV8k
N0TkE8KIkn4batq00l6/j9PUZ2hAwlhprj6bBaS2oBxFjqUBl1Ax+lEBgbUgGhnzetata5huBJRS
xppIJKnisUqbqIoT787HBG93LUHnwAf3X8BbU8IIaPJSE967cvskgljDSuAFNq89BTNJLuc44xCF
5E26dKv0IVYxkfcTQeYLOlbnKgZ63CT4xOLJ0Xb+YhkIhbnQOuBFX/85QDwLdhLQJ0zklFrBwXXd
a11pm7IFyTBm4mSK95a+qRTky2IBFoJ36noo33rgfoQ5OYC4rJksFW8Anpf5dAz4ZcBNL+m3G2sS
Q6yweFvq9YAbQxiuvspEN3TCqxuil/O1hT5skhI1WgEQxSVaN0shkWCa+sCds1Dy6v7ni7j5chE5
QPvCksHiX00kiVqwefCy2MHTiaSKry1G0tk06l8ObTfqjYxgS+fcy6SuU+v77wjG7aakeZHGTqfQ
dEKbaDYgO5inq6LdsIU6wzxAD86zqRXt6DfyrnTbXWeOv13I953KVKGXaBOZFD+5+/+9ENKAsRGD
ZnWkCu5Fw495X64q7y1KhmdtsnJWVfxeFtphMsIn5vv//IZzF1QWdNUUier678fzGpCU5zObDZH7
Md3vEn1ZUrq/TNby90MyRTBmRvoMlO/l67e2r6JUGjNmDD2ixWDB+bfjPEadZRyjQYLywJwVKrUT
tLpldzWjHPK83aIxkUso4hGGB04Ozmix5Z3ad4FqXRKYObJL2ECPPLCSEDj9Pg3fmm2IoVA54dPE
+VaWMfWSWOuxjVB2NhuhqzdCnr9xK2epLO8G8ddZ/+Z9khVYd2AvzG+dm5ibZOhUv5yhvxOkBiRy
lL81lE1BQpooa+LgvYnfVcAvnQCuqmNHqhebIEUA8/PAMKY34Ho64EHR5CXtnHCSq3XOamQAT14R
OZiMcekA+jcBP0CgLKBWBmi/MEllZIv57CbYEhwts1qJ5othqucEbU322XtYV4KkdSq2SyELJKhp
nygHfrSWhLK91/aa5e6HWj6bPcWMnMEgKvmbWkdPllKfkjx7s3pxlwOqtyuUk2r5UpraovBIJ8ZG
+UapmhKkdR6l4kGB1pRbwQQe/gwymu2+mSiLTNZ3eIwfWgUETG6UW79RwFuISzr8c9cwAJ7qlzTg
mMuwF1Gc9iJYS3nnMxzsSAtg7bx+/drQk8XXXSaXE7IOEeXib6uqevPZG1RYmf/w9l1v7Uu3mkoK
CStbQQYWsCUzajcdTc759EKUXYc+yB8cTSJysw/fde50aEnnsEzfQq/80/jVehTVsxCwy6w7Juyi
LE6wOO5HtezYllqzqPT/hO+SBXKk8REl6MM9Di8ng0UWTZwpI9ZRRgv6R8vgMnOtmrUKusdpLlYM
/kiEgA9eKset0+IkyLyHuqKfZQi/LAO3NhiSqHKMxOBNxPf15i42mj4MAIg4Qi3ZUp8+eL27EcOF
5BWPWTm8iTlaHTc+WtnwyxlHvrEESUyG06aZZq1yvd+XJd5qFfu2M7rSB7i2Z2D/T4bkLworPYX5
ayMpjuIMn/pkLNMQ7vjPYmbsMld5M9v6lBYA9cycrl8+VapWVY+AQnbTJfUeLFVWffLLeP3zu3pr
dqWmJens99mPfTt2t9BW+5LwV6cLUbQZ6bpoqO8k3amMUrLEo43YGUvFx6GFSnNIuTh0JHYnNqe4
Rh1h+Fhn/LvYGP+EvfqcmOLHCAsuNB+lZHiLKvGXM9XNxytJtCXpxXCmu159VcEKg9KsMgc73aHQ
uxLR0JNX51tRDI4em6007hdD6K0GU/s1V+jGxprPnirPsqRZzNX/XfKY8rq6UgvGFuEpM5nRLPXq
jrdmpWVzTQhPOOs3/ih+5LH4QZ2akDxplXbuQZObE9Z8O6pNZMzApxUx3f/8JG8ddrk4jjMKezBO
blezbuKWKsB5nuRYZ8/gxpak2D+HGtOl5xs259OdmFJb8jTtoHvWRu29p1+u4Ma5iicjWoqpc8Ay
r7eBuaESEpZSXSqG9jQ9n063HK8CYl4/q1Z7EsXoKUv0XR+ZhwA/GTqPLFSew2r8IMjyKKTqcwpk
X1BxzRrSL2/njeVYUlDVWIrKmvStO9/Ct0xH6tAooRvO1dmnphXnmJBGeDfF0WzS35rBtwaLQsyW
rEkykpLriYiR4WZyNaYO1YFl6aGGh2diQ16d57p/Cv2B3+x/eZ2nZ3y18tKvFzVFoQOtytY0Q/1z
cM/Hri9Fl+IVjuXLiI6xxxtu1HsvS38rfBu3nva/n3U13iwhjEJVnQplFnysKec9DyVIXZxwpOCt
6DMAbCayRlVZ+WJxGPOMBPfa3JrETTIc51jWzxPRN1ENssMHu8yHtZipF0D1CZ180knALcXjKpca
8kUNcV0J+RlLrA9CX6kp1kKR2BrbvCnPX+RjJJoJ7UfYfPmnmkrOoLAv1FqwK+G4rnxpTfr8Is3a
uyH48GRjYVUpSjpjY+LBpuQi95lTZ6RYF9Y2L9uDlQB9EYZVOVYHoSvOEQCfRsBqigE0bvdJO6yV
Bpda0fwNw/rcktOKLfXQpxBMEnc8aTGdEtki0ijDpD0LDBA2cU8e8bu59iOOZ5lqwXxxxWeibF5I
gHZKkGXCoAwzQNpWP29FQnIUiDTLAj/aF+HS4qssVVSSuPHUjY4myAi9Ypn0KKXF5C1HmkVlsSIH
q96O3hDDQk1ZR/SCJJ+MEQheYKUqxMeblhdseINxgtJqWYVeh3Cz7mDTAYrqhpCAiCZ6aBI2iYql
AgaJyYXtsom6jywRVoJ28HvDX0EWQjJOBdsmhOHZLdBZh5aySokFMoX8CEYPjw6jfjTTI6jzuZKz
HzPEfl2lLIUa1LgIv3BLdpAVfVrYg4ygOpuuudXM8rMNsqNXpkehqtFSuGieVCzt2Z/KlC5yjG8x
jbKnsF/DMrQNHdwtjYOLARzJzTF5Aym2fMfX+Lsidy8SatUADlB8bVkL62lI9HpxtAZja+oDJlIu
cpoHgKSv0LeulAjuoevvuqB5zgyvn6dEd/48Xd58fyTDkJgcFGQrVwdWvaiKetCZkOTKnZc6M7Lf
3Q85iReohNRBXzSjteUr/jIP3tqkUP/g9IqYAq3S1cdq/gBDxRtwkdH+kUTrkEYJ9fz0l5no5nKk
scOkw0nJGfDNf6ciFXEQ8HordbrBcpquwRMFCT7BrUs1JUNOB3TTP1qlvA+IxSmk33cKt2Z8FlVD
5x5Thb0+OFp5UiR5p9FRwMMRFyhOG/TvnaDv+O0DQgEOfSahouMDk//CD1C8gkTciSWAZJPiY0Mg
T12X95FMpJapb91EpoOlAUt2CaLpIGfaiZTyClau48XpR+bVD43vbeCKb62hBaZA2lSrlTgUUqr5
HkEhHgbipGvmQ6aflQYMXMR02QxTjzAWZnIJrdQfJqeTOLwp6eikI4E7vjGTLOOQ+CJC/g+5ihDm
tBjwyfWyDSV4KPJjaWZo2FVMA2I9vk1PM4MMhv+rj+ZmqD9xlIoSHWjDAD4rPJbwliD3shN5dYUO
4cLUsfOZNxQ4enPJCyjUtOHeZJNKVkEIToEqVJUY9VwOW48qAxhHCYRw7AYrIj9IIUCgXsf5J0Yq
wKQibO6+BcuPMKLzVCINavWc912xHND8G3ntgXewcGhLcCjoPRqtvqlETJRx6dlNj8e2DZ/GKIe+
kUwicTyfgcsHTFjBn9/BW+ulrnBEt9C7MVSnd/Sf9TIQKy1JozaFfkiPSX5M9Hg7dOIqkoir+f/6
qOsjWpvDG85APjq+AUkxhS+cUmMHkzjrauGXr3Vzl6xzrkKXghyN49x/v5dYyHlWqCXfK3IqnzQ9
L134fbac9u2hNLxIHvFiONnBDf/yNW/teqjSUJJiq8U57GqLrJfICtKY6aWn7QsBPUmwvNT1wfCt
rZTzfPn3n2/s7U/UqORPwabfqg3AqVG3wDF0yrDEAFaeocq8Se5wyeLys2YNgeq0+Pkjv6aO633W
pI+l1ola2bgW/4xVDtWfBAUn7GN/phJy2KJxxGxpETQqlvZY66cKNhNZcF18Ms1zEUFxLAmRBp8x
tfoyPOb1kVzhbYXZFZ9pUrMjDcaVNSBt0IQM6gTJI0aibSNEbxS6XExx41rPDX02luPKc/N6Zpi8
bx2uNLIGqG1vWzi6c96VbRDAl6J5W80k91TGGONqmHCJpThZIj/2VnGfCulgu1RiETTP/dqHJmwJ
0VwmP4HabIfreHKfFxXQJASAhIRlM06f6QyO/0toQp3QgOP9fFdvjlrGrEIriNY0GtT/jtqud8lK
863E6Yr8Mx6eLGgjkTuuwdcdZHVRN/MQv+P4WyHz1gCCB0Qhk4Ku+u1kULXC4OeynjgQqj/Dkcdn
jdXbENdvyaTBIHD5CPfn/POXvbX603lC8S5OP7521//MPKJVRgiSIR9GLCEZuJqZhU5rWvrLTNuE
pnQXZ8V52p/8/Lm3Zrx/Pvf6/ByOatxmmphgbO5XZswYC83q0MnSpczaw8+fZd2oUJNCrCMS41jK
rHBVKq87k0APQpkcJQ0f+r7t5gGydY9qrFzGNTEu+V+NMDe6T+NqEH287CbMDOqGEg/adSvD1ipH
8T7iDPqRrvd3oaccYVX2iQvgVIkR+QnSh6fjxapUYHmu9hKikVzIMrK8nti9CsagHwLO0cbHugFp
MkYn5kbYvZCnln66Zk+LLRq3SYVbm+S2y5e5RDdDkdgnbHfWIcpwIxUC5w0J/LXNyYuCccZeX0jP
xGxUWEKoO7vSyms1Mu7qijQ9giGRUi1SrXtpR7UjBI5jj1RrK+ReB1f3IDl3wC/JNGEJrmFMRDNP
hiEcKf1Rjf3NtG8uSuVisiPuK8YGkQoLz+8vqjcSg1Wfw6z53+yd2W7jWJqtX6WQ98wmN+dGZwFH
syjLc9gO3xAOh8155uYm+fTnoyKrszIru7LP/QEChBSeJJHcw/+v9a1r4h7qrZtppzGztwr8bKLF
n9rcTls77gMyZvtru41Ji8L8SkLvX0wxf3bT+EsANY0H7tY/ijrzvO7QXdbU1Wt2V5X5PICj6HXr
2a7tEw3f556Isr8Y6cWfXbw+mgzcEC6t4j9eT+wvI3ILGSCc3L0WAO+R3YZiY3TrBhJusqRDGUsL
rkv8gxOmRBoW4fWYpOkhSouHVtLWrAVt34LUDpF+lmH9gt6ecKthXtAS2QkWL7wECVAdbNY2H7AA
GzY0iH9/X/yJU8DCY4HOQzDcUKv8w30RaVOOpjKHeRQWO/RTONx1Kt5ja1xbBe+K/K16lWDq0yb4
65kWE7bn+wizp4oKeYQRUfP7/SAZhfvygVQ99FtYnfakFuDEhd9OpEf+NJi70DGBx9cQL3uNAIpc
X6KhdXJfkyE+/Ps39a+J36AfEQ0Yy2LKo/yzXDH/NKL5zuQVvTDzwyjSbUNRHZSa99hXRFm0YtwZ
flhvqgJ0eCGMxxi+Anv4EntvRDZIX2b7JGMbALXSi72/GIf+TIiBaJvW0bJKcP+lMBuN9lyHA4Nt
7cVXMsnftLy5iyuM0baFEbkn46SF493Z4yPwx5t47M82ra/VELLz7Dv3Se2KuPzoM04UlHpkbsXH
RFqBq/gVsvROhNag9rG0z7/4TPU/GUHRRiAVQOBGY+ePXU09DSOHslGBPrslSCnD7ycnho1QD0h+
RiPCpzvOVXJUceAr0ANVms1nX4fdoOLv+tSIGxpodLdziEFmuORzygbVmzG9RTO3y5R/Ix+y3Kqy
v4GOCveEZEW/psZROtwtdjJomxSuKrmd3GwT1HHbS+4ZrABUlpV7yDPfIm23ZC/lmUElSMgxY+rC
S+cLbkocAFAD0pdToBiGhWsafuBTvH/uGjNGa+hrW72pUZ5q5r1nJ88lMqSVKS1jpWrWSp7mXWX+
u6sYgp1Ufo9sfRParGbK4YCQbdM4rxBLP6IwCsYI9lOU2pvIrO6W+WRwvxCD+bosCvvcfO7a9tGQ
8rug10ff/HlIhEH3n19s6v1jzJpfqeHo1z0N8vgEtX7YRIn6PIe6ee0zG0RWmu2pFmJJbxsiU3z3
jjhkto8QARliB5hfdX+Y84U7OumvZTW9/8W18GeXAoI0U0e0wqb2j121iWZC3vVmcRjTKgcLaa7A
+94XUTfu2c/x+ST+3WBphHgu4xc+m6ww/kJZ8ieLFgyCHjpze5nR/1jgJe66aYplgeZXnD6V10+O
C2J48Bs+G+SkB39qtjM+0lUCa/mv7uI/Gf0pldDToYzLCvGP1feSHrtURVIeMkmIZF2mB6uCYeYC
ut+YDfaqCjPSlWc/2NwDuyKMgYd2h7CuyH2Oe28vyvQ6lI04mtMSATj4QAjJ5dLt4yDH8Awtc0Ng
0mPiERzK2mLPqoY1Ydv+mMX+4338z+ijuv2xTej+/l88f69qglejuP/D078/VgX//mv5mf/+nt//
xN/PJLdVXfXZ/9vv2n9U12/FR/fHb/rdb+av//rqNm/92++ebEt0NdOd/Gin+49O5v3lVfA+lu/8
337xbx+X3/I41R+//PT2nVMAjRjb83v/069fOn7/5SfDt7mk/+Of/8CvX13ewS8//Z82eyu7t+5f
f+bjret/+Unz/J8dtlss0P2lo+4thhj1cfmSb/3sGI5P189C3OOh7frpb2XV9vEvP5nOzzaMfgwo
dORsHJ38VFfJy5fMn3U6JrbvLUZPjy3rT/94db87jb+d1r+VsritkrLvfvkJWdwfbtGlkWYg72KW
oQVo2X9UZDRJI6wa1erRzj1vbRYWBKkCIEhiP+WWm+BcBtqmHOsdhqWL1ds0nKPjt1/dsdG3cuiS
Q+RMD55TfO18HJfO7CEBJ8t1ZWjRF6qIeAVVcjRnOW6FmYA/I2zBi4iQnsZtKgj3TAEyQ+tzn0lR
h1jC3RGjI6qjzAv6CG6D7c7nTezB6tUKeJG5Mdk7tLBEnobmus6Mbx4EjVTvaBUlw5o4YyyabmpT
5zIHPNruZzaY7GwTBaTW2giZ0vqzwwPjEmkzkvV47UNvSUfd3heCMrNhjXCa0PC7U3xrlb44kizf
ZsXrsa3jL/Q5nZPXQOOQjYKeNlvXhVfNt2mSGpsM2MCmu4sdBZLMI/VBd6nzVlXmH6o8mJIsPSbk
ed6S5bNOlI/GTaTjjV3d0IoBD57KdItw11gLi+W5VYTjOpLVR2m7H6FrLnECFXQSwWIdReyJBPhp
pnEZV6W+1kncWF0byHXhvQa1H8LRaLtzh37EESllqnR6UoV4KDQHYnARP0MCTbdjn1m7qdBKTmvf
7mYM1Pl4Q3zSbZ4SId3omb63hgW/PNQOvSB2fjKxTo4C9Nno/o3rW92awsJKSZTDg2UQjZYl275E
WxBm4S6Mkl3rOM0utIdd0WjVjpYarWyFFMLwdl4T7aFIg7QwG7DiOVb4PA1XlGAj1sT0YXTUFxtv
wiYV2T4dEwwkTdu2+0RVm8ip0wPLgddKz+6rrj26+CVbjxm4Kfz5Grm/C9ZQnzcsEZLj5HfXIoKX
kF68nkCJZr18bTTEB3X0pVuSA2doBOV72vRrGY/3sA5Lj1AGWWIZSO3xNfbQmOeOAaHVoltCmoeS
0XFyauPQO96L3tpgX9sBLJpvfNea5IvfbUO/fmxzrwoAxvK+DPfNGtOvxK+B6Jac3cau3twBRmik
MpJTPA0/v6a5ByJgQUtOCO5n8rjgV2R1mG1F5oxrt2c9NDbWV71OPmYBVk5UsBzMmnYJvd3eAmqa
1xt41wO4JWjfqojeBhHZxyy81dJo3PoorVJTHERBFiFkN9XYOHm6yL93Kbma2oc9U7XtRvt9SHJr
n5XRIS2772EcA4EnNo8PVNx1ynvI48HcPlWpV+9KXvVKeg5BMGSrjdK5bcm5UCy4OmKbNbdZzNLp
abBUDxiQZWsYv2dGB7PEAnHlUBZqhPlKZkG6HUIo3pUPrAHAqWtkwBptSCcNhHlV3leOGvYOCzR2
EslTLJcEJmD4Izd0LPKnWgcKTI4VzOxTlERE2RB8o29Vpc68p0plZyPxQKRVN73nXdmJuA5baCvC
Hsp16RsJPFK5IV+63YuMVGKP7MTcvaOBv7WIi5oamR4AMtGi7AyiaChExHrxLvBU4jIubhu390C/
JsC1IABFQp0jn0TFgs3SpmjYCxGEKteqVJ+aiZ+XBf1XW+rxmjhsU2vTwNOs1y6P42sm8GP4tXFG
NDBj7AQWGEdSneUBkQgO4d7+ZFWMsT4fw1N079ULXi5stAc49wjLv+e47ncFFO9tUlDDt/sCDwdh
IggACH8D01eAFhZlS+qcH71kngmUzaq5zC3PW1U4wdfJ7H5VgOfGkdIBN6U61hHmNRXCvPe0knfD
otLkAjWH8RwJWhQTaqS1mKvw4MZEqhUz6AVnAJAoSAZdFcn4qiZqdbpNfV1zv1nJubXb75kNhTpa
mgPEim+qjjiLNhbGnrM2+nO+K2R6Y2YITacM/qgTLdjmMNUOHr4go9P9Y1q2QcytAuwXDWs7aslV
j4PHYfQ5YPODVfm9GolAjRS0qsi7FYkDujPX9Y2fCW/d5C7hznLYahQ/TlJF96KvSLPLtGFHzsda
tzdDrZ0n3J8b0q3Zr4+oX2vDCdyipvTjdPl+tLkyqvGqCLtz7EXki+hERyxlqt1optq+n6atQVGW
CzrWCC6nepMrxK99UzyFdokJTIyUlbpka4YYTccBMr42p2JTQcciOp5U5kJob6ORiwPkfaZYpIdb
vy9vhrH+StXUu/JVfz02VbMdu/FFk7l+HOUL5eVujWF8yXrS1rFezsRYQzuzDfrryPPbKLJODAYM
yqVprhNBKkJIExtPETsuFupjtk+n1t8O7diTt2M/eVX01Diau22Gli2WjSzPsDHJpSHUs2TyKAbJ
69wR5h6UN5I9B4SdiLK3OlFf0qqdn2aYbpaPo89MojVJ3wNuIfD48iBYt+/6EvWLMxy8CfWaNTY3
5UDwsU2UjQn10iqhE1YIACVF3NADXE3E2iGrk4NKwP2Phv80OPGXxPfoWJks5n2CLnEVelg72zTh
pcqIMztDqBam3a5ihl03ZFYd7JC/Kmw+nRyTdPPUeEwvTkhVpZ75xnoGgTqwMaH0HJTZ9JCV4sbp
l5A1BpJV5iUaOk6L6IYeTh5V5hyQ0N1UOK9RA7GyHdVxTgycK+Q+jpWfESMwrcOWG7nS871Ry/gc
EhOQTGwEOhu8qQ7utQyTjUqat4nwkVScytCFUllbn77J3t+YdlUcd19ihHP1whjNR5BVSOA2MvH1
jdTiGzEP+dk4dWXEzWeP5jkELmQk0jniK157FR9oIv2DPoewGp6LFAhRa2NAJgX5EOPDC0dyL4xM
gXx0p1v7RtLh22RG8+roaFk1xQStNOBiDGabtAX73BcjZz9L9oILjiCzlrHF+tZyI25yXb4MGnTj
xQbtkPywmV9csgamygKeG3q3Fau3U15MHcx1K6L37b8aaVPvGuGyAlLZY6pp5NuBP8ILGgLy1XXI
f3yAbgiDkxT5cGMW3QumRn0fW/XZNUjmkxENDOIqyeMTDSHQ6WTvK8KbQpW/WRlmzw65wKrM4G1p
LoNVl3TpwdXnI0X3O8QxI5EBrAQTC4ZQYjYbt1vw1XOTr/Smg16pj+BwS4jfUS+OaQvTPJQLfS72
6EjEBnD9hgaHspNt2scemMxwyTZCQjETjzSjSDqyCoSU4x1Hk7OeTbBr0Y6hFi2o6w2JvKo7zGO9
bUCOXVLlo5CeNIbqdWHSZcQ2+5ZnsVqTjr4j4viaeWncupU5bSLXWZTFXKB5GT4LuCGzfBxGkkvD
Tunn3N2GceruhhJqqxWJF9JL6y2lk5XnERJwWXNlWrKZlMdHnYLlRozYETywgfhn2Lk8FJ5zVZtu
elQOU+BElAkIRVYWLThUwwBDltpmstElPscQjGIY3/hL5pnZT7ykRr+f8/rQh+19TAbQ2p4Nb4Wc
atNwEtquP6I4fO5kPx2NtK53aRlSSDQdlhL4cLEAEncr/eGQU5m2gUpsHE4mlDLH305mlB9ReZFh
9JKzdtmD0af7O2LFd2f3lcTbbzKMwESW0bdklltBDMCSrFgS5oKjLM3H0yQjfz2x5aDgN3waXeSi
j+kWHh6D8qRAilhNvCzbLJabLDVDa/w6VMq8Vp8KKe8UkyBVmedCgK9Ocjy9CHBfGq88yKy3iJno
gzpPOgY3b8cS0Qsa4qp7seoIAN11qgZAbyDuGvAIblQ837vNSI2mAMlvulVgd5T6hlpuxppOLPas
ctuOnsmuoyE7S4fJjKf2vqsY3hdd3+wO9ibtqar5PUvwQqRvia7fEMTGcrNaYVlE4bP04xGV6Ovy
6H733Ghr65IaolZyn7QbbIX60cmHU1WQ/QOWzx5qZHne0hnw9cdJHQmVWbUVQSZJ1b2zVnplpVeS
7Mymh1gHtPEbm4jpLV3EDvz7sHEEleBKRIT5OBDzYs3G7eo028EZsHmQxlkMMPfZtqCqma6iST+m
xLucZVg5a6XC99lRcOCZc6Rbmhgcyfjpul3eexroR5CB5i6LB3cH5qSAYAJKvsj7G4s+pj0Tl9ba
SGaySjtl3IDH1hSon+H6RWn/7MWgz7IhfS1oJLqpVgMcDdtV0SwcObuk3ivVCcIg3N0J1H3syyNm
Uy4PT33VJfwEs50PbW1+5mb+MDQMpY5xJg6QLaI/4Oiu/G2e6TcRpL7E7fdW2F2VDm3MqDW9rRLO
EaDFVZiERy3Tk73XmE+RWxPHJBUhqjlkPubQmV0YOoOTI26GiLVEpAu68iPor1ZPthO84cjW3smf
0XuWsgQ+wTnOUK9UXMiEOqDY0bp9lmjfUkXxjVoA0OmKGc42WZOw2TG2Em3sTuhRQOeSzXxPSLaX
VxY2EeQeLGqZz40YZCsLsXUWodPoGhpNJeBXq/AQMZn5J/3D67hzd6kR+/sqq8d1PflfE0s8G3rY
P/iudq+jaCM9igRRCrFp9MUtOXNZEqpdxJa9nNibNPdWzW7eJ3aFgZ9Ip6iGKEYgtJGJeE0cmL9z
OlZZKbC01JLWOq+yR5/kDrK120Ml0YX78QU3tptwd0s6V6m56saRHEwJZTE24pNOqg10MsDTvtc8
0ZIHezH1NWYo+5vW2V/IpuW0ixffhhqKy4l5j2WUSW5TvFSf1dKjq6sJqRut9NwJaI6SjdORrhHb
+DcyQ62H6mvfaeEahT6hRepVJTHh7AwFSel5+zTGcE/Ee65b9aOF0kgXyTZxnCVp6FbvvAWN1zPn
ZZvR7sHaR128rtL3MoqfaWfbV8gsz7NG/5H5cjQ+fa19jQAger2+s9oZORuVl5Xo1FYUpliHhrzC
S469HcGhEyuLOQQ+pBTImmZEMJQgwmPU3ZbZq+qn/EqoDiSRSq9dXX2X5adQPkV4NaPXkRJ3FGoz
WykbH1GzHh2r3MyhGjZz7+5IWjS25OeihamuXYd8VBQ7q9gd24DULIK1Dbg70jvrCdZRK9W2hQYa
DmfzfR624UGSs1r07Cq9Rmd7Okl1mCCpVHl/1Vv2zJhKjaqLy53r6Y9CNWCczfm5cPFtZCGJVwwu
VWicMzo7h54Vj5NSJR2UxjwaeZDavJp+JuuSKGTfZObl2bAX1K9HfEY76k/14H9pTe40p39yGm/e
0aV5R4rIf5BhOFlYf8mNxbvUx2eHqpYtojNBdo8DeW70PKlaDJJ7s0gfxhiQZhlTllmnefSQz2XA
Xmw69w2lob4Ggh7rurgv5+QF5lh3b6A8IWdBvc32nhSu+khb6MUhpuPcI6RP5vhxBu3CGWUAS8AX
ImOqgk5yrn88vDxPi++k0VdHLQGM3Wjztm57pp3lgOhmjymL2InlWU5HJGhIod17VngrAEtNBYrV
MC79AA2rhqdbvxkS3eUmkZD8LOMYGgVvYfKSmauJhyr39j21t31sJIxkmTxcNpNea/m7PAKmHTvd
cBcrgJeN+izNLjvGhtNuIxHfdq54kh3RKTUBVQdQE+yOUbX2jMjvSrt1Ylt+o1p/bHIguUNnl6eO
R2tdOi0lDgUOKyGVvZCItrSGVIQeT4jjjkdHmylY2KSgeQbmGQYI1HuQxw2R3Sy3K3F72bTVHnQ3
tnB4qFszdM+aclhDTpkkeb4+6qRlrqWRsKXTD2bXT/ehVo0sTraDnvf3mt28MxSVq8h0zrCHgkzl
r45SdLc1talIISIW/Vq4RBdaX5TpwbFMSHGo4nBV1FzatQd1mtDSta6/kmoO610C0k9zwuQnT9zn
vgd53a2/Mj2cDL0PmjTtVkU6z1T37asQo+aKUC5r39aGv3Fz7zrrna9+LV6IRkNYV+ODrYd3iWIG
HugJUAJWIseQ+xQO56obciKucoYV2ot0qDYZF61+K/32bEz0I9zKNajPhitRGrQHm+7aJfv1YOfl
w6xtWZLdDbaW7au+JyXXHV4KUpuhBRM6ipUnUEqCsyLTtTF3bRmTpGjHmMGbOdxHeXainHCNH/Nq
ot+7swerDhTOJ4CyuHN0d6gD8d8HsyzrwFy+5fJ/pJR3a80cy7U3h1WgxmLYCk97r4tcBM4c3XRc
SvvLM8KLvnQ4B5OBqknT5d1mzkFSXm4OJ6mrAOueYJBBBJxLJ6iSzAz6QEcyE5S+oipDO8wcmxcz
13l9dO6Z9JYvDvk8bTrLYaRaXpY2zmqfzOz9ZtcA/rT8Xw/7ClS8ign5IeszGrLXyprv2pQlP52Z
OrgcigzL5+q35wYnSk+d+Hh5iZfDVOJO/fGSU8ColNOPFTuj3kz9HfkS9KarIPUz4NPDSFQROJJz
1AGTWdPRLAN2m82x954vN6PpUtESQ3uwlvd++e1GFP3jty9/28wSCqSRV8hTwx/JtbLYX96x7UrI
2JfP4fK8jP1254rp3jblN38QJxlTPlEdZ9eW7T6MmwR8rBxVMM4Wyyn2YzpdPbNkMxapwPJ7gnCz
ntiBgRe5vNLLKHJ5itsbm/Kyb2qXUe3y0luT1GNmK6YY2QXEVEL7GKwD/ZaeJMZq6+Gb2sZSsWwU
8q7vQsBqdgoCciwKIgrGiQFX8/2SVFf/nk5FGQyTBe22GuB09owJhe/XB9KZKUvZRTAVo7Y3na5V
6yQFL0TM9clowZsPY6y2iJ9UoEc9mQqt62yKeSKwI7azipgh/s4ckS1o57PBwJH1gau5XWBr5rrS
OnFwNMvR1xQXp/qwrDAu428Wiz7wyZtFUb2cQvJXrMZnNZrFTYCjvAkujy6HyxWnJ9rnrI/Fdipj
LjMRUWD29Pzw41a53C/LQSyZoqzTQfh1fRVIgvLyFfG8VeDzw1CMyD+skxRzcwIpquxKZ4Wqh4Ve
QkJPdawnCOVjbX8UkRRBkdvXHpWCnT7JIbgcTNgNW7tf0NvwDgLk8Tg1XRNkYIo7hqm3i6h3M9qQ
MJigmScxBg2szMN9hsuNRDV2kkbPrudyM14O9XI9Xx7FCRjPPuo3WluCIbP9pA6ixql+HObl0niX
jmSWNWRlBlE9mviXv+glxOXLeRC5V/56RqjmeEJ71wabraCTfGsUSmm2evNVZ/XoBKK03Uc66bTC
djd2UtxMkKzO+nJokngnNQFDvYufdJst3ehNv37NaLW9jWTr6I6VDexNDKtZ07dezYapoCJx5XhU
uvLE2V++oVRjd4KhsLp8zSjUVeeEn8qCFW822h6vIv6NjEwUoSIsHVHRDnuTGw1vSVlcD5ZJ2I7f
HTqqocbQgnfWQhtUuU0Nwh6lv1XZ8q5IZKB69UBtgQpuyyJJLC9ah6O2qbVFv8JC4xyPbEu1gadk
l3/zJ8n0aMqr3rVOQ0eLei7O0icenKG/PIfTZyWN+ApMMzUkCm4gnKbsmLTpwYsckF09u2ckRxYc
/E4YZ4ZMcR5aCY8cVcTKynLi9MjKkw3p0mKAFcAWa+V62tcGbXsnU6qcFdlbYemBf27DZlOP9p1O
HjIGteK1nqj22Hr+IptZbe2ai8FQ3nvSFrdFhpRt6oZ0L4nFWeO09ep5GzvJFdLi+iR9RHliIs3C
MbqU7Ukc0dek573WhVmcfju4o0Co7cGbLsMrMbgOPAL/jsKtjuhjavJTQbRWJeeeNUg0rGXCVIdT
cmNPQgTegv2+PLJSsdUM4Rx0PS9O5uzlPw6uR5HTt1mcSfdjnNwESR2uWr/qCFeIBHEMphFcHjXL
08uj374Qd7UIxrAU64yO6fryBT0mu0DUdrH57fsuv+XyzZaRPHXU13eNrjnBYAknEFVKYMHlIQIN
QiCseJNrtgoAeV7+97dDqyr3xw+VLTD8yi6ytTGYLNFGNyh7MiygLTGTUCcPolD3glEXpLYUOhag
aZOzIpw6Lk7V6KTutP03iisWv8BYomX3vgrjE1Ypd/Rrc8tUwHlheIxMEuaZOI81o6qaGDYLFP4U
5ZVDlnumCJvDA54qknMKFpNGqI4Im8HVkwK9sxkFYPYa73ZMIprTPROG/UF1ZV05/QvRndxeXr+T
GLaSjD1u5vnPKoPDn5s1Sh8srUUvr0s43XlthcRhook2VU3rrd2KrnAuNcyAIM1XQ53TSVHHoJI2
YJDfaCJ/H/Wm2Zp8ZHnbvfsuPW8PNhy0mdR/sSYK44ltpVDKpi9M2YL0mF6sJ0Wlq2ofXI/Gl+ek
VE569tkFep7K2jdx8hjr+bymmEHigQSmVRXPeZfuQhOAbmlKJllGPBssbdfVfAo25bYyvfXIKg5z
4jubLH4cilc86B7j2o05Ee/j6cVNRTDmpi7CL2G/3OzVVrfyLePgktAzUh1qWCwQgWKk+J5bt6yv
PcraRutw14dD4Im8Py1l2WXVb5r1p6vVNL/cg9Okt+Zk2RvIFjRw8v4bM4PaeeIm18aAPv7tWEEE
TOOXZqLH5uePPY1TLizaWQ6S8vKxdSGvhUmGQLriCmCkBG4+Oiu2Ds3aDNObmV82UF0sR1Lgqh5b
WF1RMc5hv2z1zjq5DIoRUnIBvWKup+siEzT2H7seoupgilt00WjBZbht2eCuRUOimj7r5yYMv/ZQ
GFLAzRW4/hGjVV0kbzWdALeId1XZXKP+OsfarSbqgDjik+PnhExuepkjZAzLa8cgjzJxj/Hofx/c
8roJU1oKQ/KGcGM7yq2szYEZ7S70CFfOOgI0KlJqasM8aX671qbFU4DZUG6oRmykN+wNSn5VSkIm
dH7k+1cUAiu2qvpZhcNeKpafpr6lC3FF+dwS43X+qYnhkHScVbt9H5dI2TLfZCo6dQLknmM8GM5V
6NrfW/M6KxoKYYINqaK4RgP52Ix+epo0Z9zYWE2w5pjGibt9yQ79xwGnjzhNiDJ5pelrPSP5nlyW
bJk1xztECM+CLOdV6uQllf4YJR8MnGIZAug5kLakpL73uvRONgffY/U24qAM9JLb3ml9tSzOeA7m
ft4kOExWSvTo5kc5rlMqjFJZDXs4Rl4VZebXmLXHKu8nwVaIPtyyz6RWwcnsqZYG7XKAYUhZqp5S
7s6u3SaRey21dJPAnA9kVLUBbiTCx8BoU1BguXY5wBO/64q53dU9peNVsizmJs+s53U3fnNmEmny
gk2Mu+w4hqEm5Mid9nEN137yq1VOLC4Ln+WLiLy7Ig+ouNaBsRzGywqt0Id+XVBqJoaGkD6REDmS
cq+UMYjjBl4V4Szcw5nRknrk6Jx4GnSoNe31UBIExBBMPE9sK0EdDBujGvWSjq6jgmg5FGx5Av3V
XNbb/aw9eCXvpNSWKe/yTW1BwyB2ynUsUj7q2G0CNmvkIV8ejmkdHsd2a2R5uO286FmonrdTJADh
KJYub+rH6pFmkCVRZWi5a8rTGLHYE9hcN9qyQjW7qWHWqNjP/Pa8NOyjrqJ+7/eKbu9vfz5dXgiN
PTrdjC3YCYIigy3iNCEZB5reBpf/uzy6HDRRXVXc+qyPSAxmqeIeMHBuw3z+alpdz861fLIHEjyY
CwxKcBSZqtKlSVeZOE+kfNG7hJLwsDQLWf46EqgJpUAZRC5pUlOCAR4JPbPRcohmbthIG/clteHg
crBjFwyvlh76yzsks7fcADKaqASkYt1HCz7aSJNdUptfco1hcTsSPb4yXCLP61ZnnJaDxgXAWpu9
F9uNxIm2XceIykP+M++cPlBEmF0kaP9frPcXYj28cBZCuf9Zrff4Mf5eqvfrT/yq1fPNRXWHVP9i
QbMuqrtftXo4MX92TECYqPLED9XdP2n1Fo4R9IIF46QbCybwV62esH/2TER1HpZzpKfgu/5ftHq2
tWgPqeFOON0XMSIydeg0eNRcYfGCTLzyv5er671GA6yq9KOVtsOB2tpDMxBl1EcFImrXIWiCC1+E
NQpbehf+PF2V0t/AoNkOE98i8vrKDHFFMUntcCvfm3bx1nYoOzTdPdRgHGN9eETRDSTVj+9q23tQ
QIfayqYDidIsJOybFqj1JdPox2W66K5ss30rdbnRaLE0U0OkFL1xw6U4ZwRGWkEvqsMDKJ+dK7vn
GUgbEdDlVVbTGgsb+64xOwwfo7euIE7A8iV3SWvMW+oy3bbs5r0iSJJ8j5OQRDlF87xutffU96Od
k0G6U63L5CRYjCCwwRWzynODeFP32CYxKUqJUW+9bN5LQz4VONxn+tm8sXIPQPQRAj9hsK6FdI2J
a24goatkFHudQIxaFjsv7F4bz9jJ1rqSrlutRhEfF5aGwTLRHQKjDarBnYIkbwjyUxovQETM8MMi
3SqIznYJ2rs8Y8AT58sj1lQmYkKdmGfLuJ4nPucSGxVdksjkXVhIGG1jPHWa6ZAbz74Ei7J2U9oV
IQTmHN1W7BdLKvBX84RFAjfSuPHR4d1GM4melG+qH09lFTa3SBppJPlgpKZ4m9iJ9egOHbsMlz2m
XQzxeajC5ygstRvdj+qdjOi2uBoZhJdD603aDdSUh8H8Vvijewhnlx27lzvzdUHI+Al+/r62qLCv
9LahxctZThNCVxCQUjmfs67amOxAI8jOdFrq0jXRchkMmlrmXSmi7q9achpibaxP9jC6KFgYM3N+
zybJh/h2bN3kOlE5MWaSiDCKwpIOpxj3uSpvfUfXzk42yYduSuL9FOE4kq4NjKa1rTtDvx6IU7aM
9ouuVRz014hW3sPliWB7ZKlquKUuyX4ydb4MBd3nUkte9Nxl46bTb8qcLn2Za73eTLoN9rQzX4AV
TI+h2T8NYTXQPiNWjhKXdTc4IXu4pqQMFeqL8E2Xp4lr2tUi7QOpDBfwWF+zhGXrgA5wq+tRSc1H
2o/CQaPvpP21o6NeKVvxMGrV9N1jORqpWqIaLUMktE78tVLc4rm/bzM4WFChnXtYwemrEdJFgbft
PZALT9OKejYtZHSjHrKZY572/5ew81pSHGjT9BUpIuWlUxDCFVDenSjKynspZa5+HtG70zMd/8ae
VABFYQqh/PK14a7mc76bg4KOyNQx35053FPkEXxKrVsHynhxx254au2ScspoVHyn1dvXdC43WQDD
aAYjCUhDo29HxQw8dxrCZ/IuDZ8oXmPjoBx7JnHcobovFP71t+6gMcYSFpsYtoMyp59e7FZ9mVKl
vG0NjONjAwHgBCZAWdvK7/xDUavgPp2xskAZowCR7rkdicoI0U1vszF2biJVIxSwaKtHjMfALjx1
1qrKgutLQhcaxkmpPbmacTKqLPzIlRjLKvGEt6UqplOURt1aywnbgtxJjzWihcPozA0nCnd8KLET
PhBstutNNwPGLNB8LbcPkZw3WMHUzfUedtu4u0a2lKJH+Vra+XSXNvZ4Bwo5nIo4Pvy9ic8yZesV
HyHxsNyNRfUiKp2eM6I7N9er07SUoRD5owFRHptBZi/osS7IZts7c+7TpwmGwkqH94V5Og11VDy2
RXaOiza8XK+N4RCiL8lCpLi4lafReeQMFKN7nsIbFMbiJRchcWGm+TiNQ3/bmO6zKVSPFOPsvlQ1
OiTLgnyf1oAUmMyNSLL8ZDRjdlIg9Eq9T3w0bCAAIGvxMdAeMVANQIUO9JodmA+VYTV0FQT1D/Ru
XyfyBkkGKgylctdzlhYn/LfNhc9PwY4vo609BcWOAPTn0FDaB6VQ82PPcomML658GO54V1n6JRQy
/nYwkDqZUL5GnyDNPRnK04tiFOYBUArp7XLVK2VkeM1iiGhaw37NOKqySE1f6EWiynBGSIMQ03kd
XBB3weEFbQ7iYFth+UrrGBvUVzEPAUnHtJ2pVfcrFb5PFLRcqiGXz5aiK/Dzar5vZGD67gJGGaES
3DHSliu31UmF7IhRc2Rt3DZTW6yl4CtcXyEsNy88CZC1s/DkPtslHwrpAwCecXFGIEc/1ExsfBTa
4YGXnDzZZgYSkU2vWgCsrhph/JCLsr9zJAO8IaKHejA4VwdWtcN7DR+bdDdp7chbI60UvuZJ/9KY
ip/EZXGwlJ7K2wW5Nuyi3Vd1HD9pTY1GXvCOrr9FXYPxkokgn/dhKHpEb3Yz3zI636nh3B//3LZc
LWRSbqpcPAfV3J3A1rrT9dJQ8HoGaUYoOVJ5HG1NHq+XUvRn63SuVC+PgnGDqxzRaMHpSWBRxdtN
91+saYiSU/jN3M3r20wddnba/qpCqFtX9tU6I/N/BbzLMmhlJPwFoa86UC8z/wSOHwdLLe0AHPg6
gMWbzsS+T+NwFyEu2+dl7CN1ZmEfTKYcYIWbRRILtZmctUOVNre50uVkNTXaqg9T1VesH3VmIKJx
rtzmYp7ofGrro0yrDG2BeBgCElnUJFB3s472AHjH9ZEy7PESvYVuvlVDqW1GmQ47c2g+OQmzm6gV
9xJORruyyv6lttPkJI3xA0Sf7VPVr22T9aFPLaqjpodYZo2/IGRLzABPS4KrbRjdQbe/7Cl5nJOa
MyrbGwWtRduMd1iBycFv6t8ghl/oG4GLjFb1tlNvlY5dOPzOtz5O+4waPHBmFZ8iJCWoUlLvnMQ2
1qaBPG6hppPeZCGl6tW2Rpoo4ypYRVHiVW71FbZL70dQPCsd+DHfGtfU2fOHlF/G7rNea19qTuOp
Lc6KQLveG29OFW3BtO76ElVckg0/NvqRFXarfh3H1lPYt88QgGT5BNa27inLqqaftKIqwiQ4pO/G
FzOovuRitnTn8MioYeuD6olJeN3YrIYousPCTwiLLwYhN4EM3kuX3vXiu4/RwaQdwo2mardoHuRa
NKiGNdwMA+0AZmaS5ReHX1qK003k5h3kSldnX3HSvM5AVnMmt8XUUJgY55RWZYeahPnVbKovZSce
iDu+L5Ha+aiLDFv8DtYCdD8Hk77Bios1xdwFmnIIZXcJZuXQTLbH0bSZmf9meTu2ztppyIfRIuVe
6spHOrR3IiQLCno5UazdRHlGypl45WjjIy0lISQRpG1KpRjaBpr7LGpkwdxTmd0X9vCoxXPuzY4a
eXqCDhZJzcp1rC8LMQloG1/JJtnXGs5HHc/fOOA0sHTrpkbAHhrkB9rdqnNZ63U2ofWlDg25aqL2
hvkpJQKONLxgWo3qeNaKwSW+lyDhBhtNYGorVwT1NnLtS4urXG/0dWEXwVHDxrdexu5YcILJw1ez
BxDLXPlm5/WxnIuvohPVtlWmR8H30euaAYumre9ybb4ZCJTEO8IXkWSDNRsxG939dKsSYMLLT4t1
5wQD3ku5baL+YUrzYy6w5hUOjpJJh3MPGvp4RjQ9i9vAm0PxLEoQLmEvinE93tRm8jbXJEO3Ge8b
YGPtxskGywJuo1Y+t7n+1i6PgxvqLWyys94HyLedFEYh+qkNviO6Un9JJMvs3ttkbT3ZuftOdu9n
4nyzAtwikealVjFWFMQdrfPr5NOnYYHYdQRPgHA1RONT+NnSMj4B1sXK9CF153lSjR9pDT9TXN8Y
1U/bGmKdl/mNUUR7s+UjN7PoKzLju25AD1+aSJ1Kq7yhNYjla1pEcZQ3xdU7uDFIGS2pjjnukAGf
GJhf1UG+hL1531rW2ancu0ybbstSz7EljG/C6U9l3R6MWjkyGmlg0NF3pOpUjHEA5sYUrEA7fdkD
Yc6VdWlS69jTFQ+yakFshXbmlU57GxQpX8qm4CCZzSVUgGvKcAsCcptUxrspYtot5NpSCgrC8ff6
xIvdhK2xqyk6wt4O/4JZEf5GyqDa9nQ3zCH0Mq6iS2j1nLIiv2nSCGVQRMjLECEMeTdSN1vV8/zT
O5itmrQ+ttZZybGIJUGwZmhwVvNspTt9iC9tpnVbS5W36McpIWneAzR6pWInviHVep2hEyzG+NTX
EuFup6pbaxGFG7XYTbW5aZXyoyysfm/Yo4q6VzHP7Pd9I6wa5o1SY1pif6xSD8e+eoxOBpAYpqLo
1m6Cx7hsftOpRZUoAZb0zA/wtXyF98mD0+sPllvEjylxA8DplMS2leIpwXCQZpv7TFnt3nQ5pAq3
H3ezVlyMuntRIyO7GRqoxSCeUj8dNmPj1Wzldq4ynNo6EfdK9hhDXkH0VQbq/IgWWXlh52d44cTZ
JJTj5NVufKAtxfVR/gTrWibmVhmdiHO39Rx1MTSuU1zsdEp86RLwLQL7mPKpHRXeKfKmPXF04aYS
2UVRBs2rTecyDE67C0XuW4mbMLQ0rlcR3+RBxdtrXRnfrcbu9+wT92YUBZvZwY7amOlbnJTaocnZ
xRfka6odDtUqoz0A0Tr9vjpciUZjdaZ29WtLO2DXYKRh4/+Q5pib5sD60HR9oJ+bc9+7qWgGUgFj
3nUO+2aLDx+9iZiJJLHvIrLn2NZi7Wice2sRwKGwfBYLAds2SF+UhjrHzrkgKLqbAk7wdiZOba9I
xKRkuLl4kVlendztDsiY2KBXk/LU0gqlSJxMjRu/mlmWUd8znIZC/EaoBlnKMPhWaR5u1NpgYx26
ftsjB2ksoOAkW8j6v9evN+qu9ZJqs7253j7k0PZWu2hH/rnf9Woi4gO7MVpUl8drMo5uMm/3/9z1
+ksRMBEahAhfH/J601BjJa7pt50dFtpAD4ujsCf08HnJaXnYtrq5H5rynMBJdMXwE2FnXHWTeAXw
ONHgqoh2pSndvmwR0nYN4nutJTIEnWZvveK1/0yr+Qd74U+tA/b2U+C1rr7Xh+FnTqF3yjJ6ZBE7
5sim3Q6jC7HxEDbk882G9jMRd5FS4ISU6VROcbmW3zOR0H6WsQqQTXJTV9AdcVHA4ugC8xuZIK1T
kUGIAOmQLj/kwhteL80ZgjCJHnCt9XZPfpvwrr+8/oi6LveR4z/V6ahspBZ/5BGaTdFhBV/YhhTa
IVv4h3FhIpDrInM0QuGpC2VRa/3Icr3wGNfrFXv8Q4XarcvuSlMVW0D3GsAK9mOpApgWPiRdmBF9
4UhmyJJsYU3mhT+pFyalgFKZF26FCCbtKBbS5fpD++9LqEBpGEaxRYpinh4dqaX7CfqGDJAHovdp
RNTPCvQOic+mLh46SJ9sIX/S3Oti9QTv/EU42pMdj7so5h8+nhdOE/5ogEfSlOJgoAiTyXzSF6LJ
gnGi7m1jmArovoCTQSIz1uxnyOln08OxwSaF/iztGCxEFuT0JqetYW3Hd3KhutASdJaN91F5r2le
IvuyOMdwY9Xk7CGpVsuIYKKbpWDNs+HSetU82ni3uvqOPPhTBeOmxKHvksipCuW9CwYP7I8RvyZ4
ChtvH72rMHf6QuG1C5lXweqJhd5LDHHrFG7tRffFQv/p/XB2Rw1MczE+ZP4MTyh9xyKhLlWqG0Mk
23yhE9EOsO5rFw2eMV0IxzHpoSWLYSvZUK+UhZZsF4KyqLPHsge4xMJrsotyssdpwnNoaMGLqkiK
pRL2FzCe1EIvBCgSwU+snPh8ksD04iq71ZI9gQ3qyoA9Tatp7WbKwZkcZCFdfyAZewSzYfMzuuW5
4sRPCB0ICRJObaFns0pWeyLfNqODlwIGt4bJLStLeIImjqSm1qysLpNRONvGeJuC4EFZyGCWpkOZ
3PYLSdwtdHG0EMeg2Ie577Z5gf8whVse4JiDhWumJoyElQiEFR66MrZQPATS1+wCFqIaZwjl8s3D
vFDYzkJmNxbe7BZ+G60z5xGJkFOp3yJgB2feEJGKdB5m3IAh74y03mCP/krK3PEAbkEm4dNxR6IR
eR+xCkEjcXAWMO8GDHxnEeyVL6R8CTuPLLs/x/D1uF5Ihl0IfJj8ZKH0g75/TGLJVqafwYiG1xr2
P0EFMKAGUI1pS6TCV0eXw4rCAQQDi3RAQ0OQzw+Z1mieK9DpGuO0NoXy5Nip6xlReYBs1FbE7qD/
2mZZfI8m9gIttCq66U6GZIWo3athtER1v/Q2gaQRzeh9vReZcZ8UU7kWtnoeiH9dZ3WM6k+av42i
nxSV+Pg6uZQ1VsU8OGUBDtJZn3QwlHObyZ96jt9CCHW1fkFwX3lFledMk5buDxZnNLrFfDlENzSW
h299VX6pVrrXW+VmNPpLED47fBF1yRTi0KhROcGd6o4Y+RlFEME81K14MczkaI7FQ6jlXpsNrNHp
ETfTum3shzxp9kZXfqQ1pip0b1g0dGJiu7R/iww32laz8YlHjehWZ5rXuVk+RlH6kM/Vb8SJQpvr
3woROPL+O9J6noi2vBlbwg/L4nOOx8+Ak4Kq5r/UFp66viIn2X6flmjx2WWPSZGagT6sKsH+pVrm
/oBmxE5p24Ty1N4aHNM7d54fSVB9yGoCTg1Ub8pTKYY7AgveMUZTFRtLCZDvqrxAiPBxJNTjqUdD
7odTSTsYoyqy2d9O6bZCw9+iB/pTwxLQh+rFcKmfFz2Kh6nwy9n2J0KMVskcnlj6fNC2u4zqWcX8
0ljCKkrsOILfdPXcM71ZU3EuZzpYxvAukfO9ZTCUzSDFyNUds/asIb01lrCwOFYuY5cfWpPIJNc4
xSopBbFuP9QJovJm2ps6yuEicECn1bdBuPdRROuvE2sbm9lQhNQPDrVGDm3G2y2zmf92moCHTEzQ
2cYKGXjmcrxb/sV9Xj26GeECqL0Z5fFzdNGXwr7Mm1A+bgreQvSWzCqYcltg8VARBSfukzaqp8Hi
Cs0V6CUazp75bJIKkd868RcC7OlkxJGLGUZ5zeLsTY+dZWvles6cPjch3PHwNBRYfy2aO65fpC7j
0K9+GT6e8hjZSThm+JFwqtTObW2REEHKKmi7omlrW6jsPxoFM9n4Ylu8KS1gZldmNosWkVGSgCBN
ZV9kpTfQYzwWggCdI4YVnVBz2C5ifcVngPFWTaPbeFA/M9vhJE9qIJWffO9xQUwl6utM4x/YYI12
lu12OZFiWobqjVUJAMHUPfPp7yUJxGsnBA5RRioAQgPYaNHaho5JUUWTry3bagj1eTIJ8xnNGnRH
fQoiAA45/DLjPvfZg9ljaMITS+6qVXocW9mKbjzUNlbEuhLjV+pHTMCNOR2CBg0dm75fcyB1oh4c
Px2n+3CRvGW97P0KhT8CCe0T3129agesj2ZwMvv+aSCJM28FQdW1m+26Fj9LK46I96nngVVfLUKL
vJ9MIFfm0hbwSTioVFRIt3k9LwGpUUZwAys6djVNfZvVj3xInql5QsuRBuAMyxmybt+UUX5YKNnJ
+Y02Vi7VGydjDs2cXFtxqBA4WJod59EOryBrqxxJJtc01GoEVKDpb+11batraC8fph6bn4ncX2a9
ugHgDkHanNyrukjdxlF4aytkX8ZTt0CvSwZI5PhDZquodaKnpscNQSyS31CwNYtpqw/dV187tI8Z
qLOJz7/YmXvXaqCknf7Q1eNLpbtnGcJlZLXyCmJrCsTgI6EZu1wBorSimHWWBS2Op8+YvomYQLI1
27zf2ZqLVSPZs8LzradRIyXBZiEY3GQDvu7ug/gT2N7mKzQDpnfrQtfe2gVNYdn4HvFoG7nNBxel
6WYmVDdU7fuV1XbSj7TyOcIeV3a8ABkJG8UcqPLs9lgVyvBGIWS6dxdLTrmwmxLPYp3r29qQBEGr
7hfjzVM4s8ttZ8UL+1kyk0y/Y9R95Q026thmdnVjsoNVzGtB4Av6Ec9q1z+rLvunvr2gIebjPdoh
eNJUDheljHSvlxDBLaK6rEmf7DkFjPIYlnoDC089HjEngdJSiHeDS4XtQxigjK00pP5D6G5g2HIA
8g9iRWtaA/uDHchTMRqxZzgz/7gI5fHc+pyeJ88c2KfDQaGhXAIAx0eR4tkNOee5JRu0NEIoSMEZ
cXRbNQr3OIsBseSPQwkGvMpLqibaalDzJ8qYJ1J+BSh8lKAHrPZFKmbcbtN5KtufQqlNX2l13wDn
V6tntYOXtmIbMC+OPyuEyDnqNuJIlGobmckF27vGZOL89K0D/g+vVwBXK8pyBsgNKOhhw0vLyTHJ
sWhKoonTgpTxityBQnNfrJH/eBPKD1K3MYaiBlQbekr1nuK8UiD7sO/Y0D5GwfChpY69msiK0Aun
23ZCf2tylEXI88K1HBsyIMC3MGvjOhuNdKP22FQn9WJCFJqBqNaRw5lPV9KTUsU+4nQDUD3ZpLAp
GwpwszUje7VrbRcSp7EYQTNnV80tM7o5erlUWt+yvgdDsIOxBTpqvfUCoVpeYqmoaNrku4YyQ1uT
PFKQgpQWJGDdFBicUcs2PDNZlJ0nobm8UWnfzSAiNkNnMBaBtkEKGa9VrP6IY7C79BqN8Q7uSIRX
JOaI8au3ucnMtVunj6gWHJFwD7kHMMatpK6Y/bzBg9iv8MlJZM9V486rwHK6tao23pTrCmmIiiQn
dr6fWiz6kzpjIaoJw9bIIMIzLxZRAcOk+UJmzp0xhtk6iEEJHdXxXLt4K8N47fbPfdIXXlS6047k
HPWoN1u1sGvf0Hpm20ebch7Md4I6sDk7c3rwY2h964z0qFrDPOm7xFZoVQ8NgTyT0MJ+ZJGprGZi
/VF/6GUkm5o04cg1/aYsOWXjmc+zfTpNN9HQDrs8I9ogM6z94LLEkWKxZ5YmshWyJxmik6LDNsTZ
uMfoCEdHoENIV9JudhhDLMNY27iHRrcNtgrmQDPRY79oGRGMZvQd2ZcsMF2zTiw25HOrvJaNfaAJ
OvWrymvr8iiQza9FCKCiN45Kn26i4W6R3SpIZ85FpdvS9zh9aognTpnAtItfxRP5fRyO87pW7BPp
IyMkLV+MUGxK4vtuyCt4CPqBwcPhlaHdXtU0y66gandxlPoJ7CS+if6efazfY9/HSQRTKws7O8ii
xCB1aLXi1iwgFir22SvFye7xjLsvFEaC4ZSVqXyDzm0IKd5mUlurE8uM4baXQCP1jmakeMvzfUQS
D7EqcfvYOXS8UZW+LotPkUSEixATPkc251hF7zYTiIgRJmez0FDSiXsyivcIOXPP7HB80Gl61TbS
Jm0Z1pq/Amyzv9D/FDuzJx9jiBJno7JGWWWr0bsUQDqA+AzwkaGtfhZK2B77SrnUKSVMtv3kTPjr
8BumFyJ5yEDxK97SLizDaM+2ZAk2N+APgEOQRuzTGsWfZczrROS3U0/lp01oFuQO4s32Nm9SqA6d
NBmcUawOdby2JfHkfcqOqbHnzZxGD7pT6Os6LPptFlfizkHDusKO8kSx3b2Mup5tB+ZoKfWnOKj9
2ZgxpUM67iUWuTUCzc0M5u+LNu+8oJhvM+VskCey5bg76alyRlSA8mNszuRMgEuwh0O8E9cHc1Y+
6ih5cl4B9HESPQ8GlRMl270hNC1aZFl6xI8+SDK62uw5pdV5wYJgHPoPwebLqlAIIW+4I3iRINuU
T3LG9OUR04n13lKW7I7hRZLkvRkLnbaYqkbcMu+SCV8aKnqcyVTV4/zEHlhaDjiSc45cQ/qtYNrT
iuiUN8SwKql9JHcREZSeAq31bwRKxdupQgcsSF81TVwgEeW9FjuRDl+PhQpf63EbEue+NhqSdMjG
Pi+lUAOepNaxdnaea+sccllZ4xhvvU4DyWa5xViBYqhq5adVGjg2KHPxdPnKuZ0enkL9VlsKwRM7
IVFKF84md/tTvnUC6Q1NtAvIqGTPy/yb9nLrEq7MdLghkJstFaB8rReaB2dZEDUEN+qmVJSR7ULA
ag+sLgG+TctlfQ6C6awXmc2anR/HSpV+2uP4R2qyM+z2N1QTYK701yjRtld8Io609I1Vx4ceSQzr
gI9T8nOKh4trKgdNTTbBhJbWieVTVyYPNCei8RySQzAPTxPvRpPd+xR/dCZGpwwdyiYSmhdZdkHO
TJFtSKDkUJfD8jEl952eW9sc/Y+q9rcBBuOCT43tfv6QGmNH9kqEd4cyi3VXpt9aBMsjrPIxCEZ6
wdI3fJO0uKSciNyaktwk2jFJC8Ie6JKR8N1l+QtR9UwRPKdynh/Ulu6Enn6r8dRODgFlE3DdIHFI
FmWOwyP7sCas0omlHSmj/g6sgomW2Z/51nkkdCqSuuWX9I1MU312yVVARRrtENb0mwAQl8Qrrd06
afuN+Ttl88kEnAm7RgVtHGlTcTd5l/q1rQQHmjYfum4nYVUgChepcRS8QEw1+I6YP+sO13qpkfzV
EoOVs3gaIBrED+XvJK92m3JZlpxo5LxPFArrOAarBP+jbDcKKyaJL4NXWdh96Er5gYqjnVpHeBUW
kEjgdMXkZodQ1Q/WCLNNgM4KRNNYW5IDjofmzJC0GEyPll2DdBjuA3G+JuKL9htpF5uojBwFfGbd
dtL1FjUPwV+mpmzLmGFTVZ9noXxTFGQc0OvvG+Gm986N86iOUXFsQ4I+y8QC7wwfLP3HypKWAJj5
LuxJXitjLxij8UznDF8Rdlxt2qC3M1Oiloh1EjU5Nrk8UcTXbBFqi3XshGJVWx3uh7Z8MR0hXq3W
vG9087M009cwV4OtkUzC56wm7XsTgHWrY5w8Io2qYXIYOMuiM09WzglyESMDMzWesGVJbhbRLNUL
mX7UtVRY0IRZf5atREZd6es+6G+7Su84MTBilj2AT9UozabpKi8MzW1EvgWWmCrc1LWxKpTsHJB/
tVflNF1UO7nJwg69c9yQrzGLC8ABGHYyb5vSS2pOxiJCON8ZpETH8SA2HQj9mhKNnDiclgF7aG+o
rg++oxyKbSS+JbHcrWIF2TaAX/KEpmz6ehw8wBHyqYKzooSsWTqHgSOT8zRZDyoNbvdGVu7doTG2
Y6g+xHBROyTmIaNpcChNixowPN4SYv9Ae9dJsbXAE6P6pIIQmoac/TQQyjotCDfXdOcjqYAdp8Yg
rIsaotAkhqRUJbuWbt4QCtPxfa8KlPWg2a6In9W5jYi86z5aYiC2EWeawsKiPzUgZEHUbckVpwkg
M9CspRkZHIXb7tGBCE4l7xmSCnxFheLDvTfrCpk/RQX2xBombomkSNl1k0nTZx/SrNWLSsDXkH8G
wkyfM2r04kz/NDNr01W5AhhLxm8TbNLa9ftouM84FFDUdo2nXHe/CsWJ1nfXdC8KBSAbLAR+YEc5
lKlmbmvWZVE131aYM5i65GMaXXUZOo2VkjLDEl+arMM95yl2U0X0MiQEi6U60r7cDbbjsuP8jp2u
ONNm8laVrMs5cHWsEEeTtemBXO1yR+XRQaBM2us1s/VQjiS/E0jD+DSF87vOZni0oV2rJN2IEhYj
7l4DrYk3btq9tVpDJBEQ3poJ+Wdoqmybtlga3K5rPTcGtKsLBuQe89XGtv1c4Xidh75FdNty5mp4
sVrhrsM4xt1SJNAQ9rHiZGNjawYdFi+C6d6zpXwUYdOt6gUmNsq48vqye8xjt/O71prAnEyd1Iye
wChOTpJsycNE8pmXtNFTodH4q+FuXleaTuz2rBS+wDOApDPCR6JPH02X/3bpWCGUsm/LRhhby51J
zod3WCNceU5jRsBhLp57YjEB2fvZy+zyLEUNxqvN4xpr5qOQct7VXq56U0YAFjKEljYmKKp9RN8V
b5QEZTcfc77lOJSul8BTEGv+/2/DXM16+PeO0/IIfx+mYhTC4xB1xVFNinp9veP1PlVtIbS7XgfH
d6b132cM0opfXa/HU8Svrn/wPy7+ffw/vyGBr9Wc/f/zVfx5kX+ekfWunYk/Wl72n1tCvCyeXRt9
drQabI7Xh7k++58Xcn02LbLKfPf3iSslZYS43pUIlLn58//78+DXW/8+yvWSIACE7wMH6d6V76Fl
9AcHx9C+yEdt36lYgFUHu+/1Enk/mNX/923OPONN+XufBJEVqNp/3/N6KVzO1H9va4NsPdLuvLve
/ucRrr/988d/n+vv3/3zMKayyHqW8hnVAkffxL2qMjeEl78vpNYUGIjrY/2PiwQlN2Lz99EKcqd8
bTSf0nxgay5T2n4dIjb4FuKGX34kizMpWn78c9vfq9dLtEXf2Gnh+v/cfv37623XB/l7dWYKZe9T
dMAt//d5/t7vn9uuVzOALBD45d7/PNb1tv/0J25X1yu1NaP10jv298n/vN2/763oqyWo4H+/6z93
+k8Pe3168poObtsTH4e789AWjGWqQfHU9aodxNBoy49/roqxI9Pnn18PWJdnh8q3BXERzf/5o+tf
Xn/8c5soCdbVR8Nc/32Gf57m79/+81T/6X5UCvCa/j4W+sL60Bzm683XPzCqAQ7wnwf9H7//50mu
V//9teLmJA0k/eY//gv+0+v6jw9zvePf13q9z/W2CAXZZrD1nz4mewmdLzJCFQptVQwd1Iea6013
G3ZD7P85XQz6s2K2WTCfIq16up4NSiC8Q0QW7N7QUztiBQd9yDdamipAimzZLF1ZFrF0wxfuo8N1
sIX9bY4TMqSjuVwCrWsMtthWtcFnbG55z2ctBToTTv4ogkbs3CghdEA+1n0M5KgAadokJKzGFvVf
b4U+BQsXilFO5szCEfTMzG0+0Wcnv5e0rDRCT6AndL6U8LBggPUi15084dQo0jQRbHNVfLvZ+KhW
bupHNaIIag0RFzXmivKjmNwlpqQwJcu3xrIa4ysv5gpLPSqoU7jwMKWOh37Kz7mKFgAS2/Rcq0AQ
wCgMi14RyNAFd1VN1piYbIJFZnFnOJZG7jGvzGK7OtovjCZsbbqUZGL8ZsBghH3FhPk0Bhy4zNnq
8z/1SvYq7PQuFNRaazgfZRMoHVwueAymFoT+85NuZPuiqghOyqt13Bpv9VAfypJKRgaoeGOytjOh
3EQhjFQSAbuxY8dBV+ynqL8BlWCPkQADKoLihDBRV0KHBQgw/fpDvSSwdfouIAPgMYRDnCttWCuB
Q9A3G/PWmS6pHH9bm3+MI903OHXoUemSAJcmpNTxOEUiDmpVjVu4M9z69N1lesK+pYleavmbBAyQ
QjARjLPpbMndxKbc7ToN+ltpiGOhgXI1GMDpVTsYG2bjZ2bJ0W9rUeK4br/t+DYPIe3RBfK3FlDy
Vlem6V5TcIb2g8JkjjfbDtL3VrrRBvqeZg4FgID8zsYnRGDYGl3mO2g0NprBGw/RNRKHdDcugWRO
y4seZzSfIVYAfLB80BUVxUTwwUESUho6AtqA71KnsbOPlN8uyGevGensnH0tsbpTFs0/UNiMyS30
QG28d4odnEut/6pzAmQ1vn5EJMKDjhNSuSiix88QuE4D3DXQFMNS17gy2pZAQeRbupEq2zkV6J27
CVIkh1tE+fKCGxsxv5Wt0KzR00XoaejwXBZKMq/oSI4gb2k6NL2Jjk7xKXII7ia1W82181llBBOF
IvyYpOITyKesB5W5TNVP4AnRMSqwcrnRN1EJGfrACFx7nF/dehKoT3aq8mO7BeKTWCcsXhX5mgKL
u7kLluiGjLho+TiRGB4J96anTXVVKiCvqSRLTEm/0lrt/blmMAZ4rHzFeY6WCdpMcpzfZP94hizA
QpTyhlZq57/YO5MdWZF2y77K1T8uftEYGJR0J+6ON+FN9O0ERUsPZvTw9LU871WpZqWa1yBTyjwn
zonAwfiavddej93IUNyybuOJ6UTJ9rU3P10tKHtmOYR989jm+hkxfQEsOQi9QL1b3XBhh1aufaeD
Nji81CYYVdFmTMYjE255PtBvWJO5CuIatuHMuiOTyd4VhkmdbD14mXgxMoai2NaKgh6pLbW5qTIY
R74Vh6bV7y0HwWVRzK9xMHzCqSTkN61/suVtsfMRmVrybaYJu3v72dfJ84D74FilnbUdj4G1Nb0h
+Oym3odxxvwVMR7A3W7lRfZfVaCnNr33bHQv6DJfwYmchM1vKyEbOCb6u24RcLeRtHSqPUXoQxhN
zbs8SeAEL1Wyn7+8YTdExVNe9R9WX7EX6uY7wG2gOPEMekwSMUlwdgsWYRq2j1X1DFhJYSdiErBs
3aOOyz4HLhJUE4Qw2CwO0D4SQAxseTt6xMSkZodknLT10VHbpnSje9QoXThGQba+rpC9qdw4FeA5
LM5oZYu3Me6LjRUUV2U844i2LV+Vazlrt4NHMeUAyfJx2XgNPvQcV66Jyj5sjeLFy+z7YboOp18H
j62vTnOslAgiUvsHghxREfZ3qx2mHA0qdxMmcS9LHDM95VoZ5evUQkjjF2y1kjl+s1ApAKO68ivq
RzPTF93O67KaT6pn0NkysLJHvuHE3gYt1juzsxtwRoTLL6a6ZW+1SmtPbBwZ07fG06G2eCmAQsg9
tUUvcsV8evE6sw4NW3XZSsxDRQ3ngMGWIw9ae59tCuBxEncJ2UwbAQ4osaRexVHXbfoxQv/hjzcd
m/XYq8RG89YNeydD1z4O+cYz2N0g7gPh4laEcTrGt69Z8EXDtHNSh83AiEZJwomfmidhLTvZlWJX
C3vnLuM5T6rnaoI1aBUI0RPkIUBT3lOX28wgqMCss5thHcO+dZV+QAP8VLrFy3wlGoqmfUqa5bue
vFe7RlfDaLiEUerF03nxNzJn4Gq1SFktzzvXChlN3bJJrVnKeKKFZI9CBb7OmBq4S1CqvbO1/wji
4slT/WmCZJuZIwLXAtp08Z6DDnGzrt3aPbWBM5ySBRHRjM/NbBhq5cq+AzoEVoDnM0dOW+zpulEf
Fuz60tFDYl/Pa57Nj7mbPuKWnaAskIQCw151KRvfMv8eZfrsaFCwevnNWNIOwL+WIT30onxiv8pG
zqwfFK7SPjXYjucW/3KSR7EgSKmXdAhzy+k3JYZXEcSfrd8e4h5bDtPNsPJLpB+d/G0FjFxgexXx
a0gYKsH6yURuYYgRAqdJfMDVI9RV9xCN6ZIQRoSYonaAcQ/vZUuSomatWU+s6U1Y6WtjFiRdpryb
Dfuoi55+OULQLiSBc+iotYqqlZL5sXO/TcDUuTm+9XxTB1O9pgoEtDkXL0FzDXIjNh14Fcmzkksf
XwBao163d1027qc62oIuYoTcclk4JJBKpFiuViNrwo9kZjHYS3VJ/at6oWtheszeZgpOeV0/Fr2D
msGuMKnw9I5+9FsU002dj+4VB/KKKuRkB91d7xdr2Y/3qos/yEVlDRIwhsrG4l0Sq44+pB7WBJrH
K0cwG164N3IyMgnAomyAHEFFM4XkF514JHein4mqw5lclxe8AahtMAPhmeFx6V+9jrHcUkAuaOP6
tsgYkODy4WoK9JxOGT/VHvyZq3Gl7ApinoL+OWUQv28StioIeiSuBTwG6M6reDgi3UpWaBg/sMFs
OHLtrVdq8lWGs9ME565W+UZHaOmLFM8Xq3XHQFeAhbokFo9qQRorZ3EZ8gNQnySXUUocBCUqq01v
y2DV4mFnzsJmtXxET002R46YCQ31ym2b9KEbwi7yuidecFSS98GPOfX9yZq7NcwHF85F92SImW4u
6D/Q/IJFNQiVG/uPpg228eCz1UhnfhXJXMGQpmErUtS13iCb5+GhCNNoAnWMXItdH4LUMt8TouYf
/KV4lRT1ijd4Pyh04NTGYDDxdQ68DNOTwI81xOMteBJuF50+WBw/m7bnWYuiK0dRn+K0/pNtyngc
oPs6d56j1r8gOPkCgXrC2wlE0cIkFKX+lnXvuY/10aNYjBmyDUF8oQRZZY17ttP8hVr7xfcctXZj
C320PX0zlWLZ4g/TxQ941XgzCOT+M1YkTkrv3ogzxuOeRrpNsoAa117D7NYdSrZNXpGviE+Qa68Q
2yxO/4ZtILqjW1vNir27sbKm8ZngyNCy3YnCyuDdKumDvf4OGyrLXiO/c5iNs3P9YiRW7Viz3WrY
VxS0ybBDl+sA5t9YfvWMguiLTlmv3Vwje7XY+EtuGuPPjuzPtM4PJOihLku6oxKXkkiMdZAgJi5K
CtHFhVHb5v46wJSTLe656YOn0uh/We2Qmn5KpyhE8r6ZcUrD8FIhwMC7bIDODxf8fSKkoq+Wh8W5
kgTVhxYQ/qcA0ZhZJ89KIBmdVPTsjwhotRlTd15JXSLDAO6j5TBBCCBOYb2y7AdvXqWV+5n1hOsO
47wWsWdvhTM/2SbmpYwnMOEK5yKNr5KzXxdByaYAuEyPCEMUJcj0sUw37H2eC8lTWpajDktIrisx
iks8lecZK/O1SbIpx0jCyd1XA8aAwEaGXHV4s9ujYW09c2IN4BKdUYvtIGjHOKRqjIE+PtD5xb96
d4HgqzznYDOcIwCV9yFxvmzPmLeg3x7NOYK8TM7FHBfEQzRUhCQ9ZVi65iCkMIl5QnIKKoeXBZK+
Onf+HNYVK2/qf1lq/3NurlLtgoeyzfsUdT1x9XKTB+zujYC7RLr2J2jc35T9ElbB+uDY436Y7YDN
g/Wg3QDplBUgKgZMbOa1e/2CME1dyOe22E/QR4Vrz2sLUaS0Bp86IFNrK0DCg7jjLbP0oYm6o4FA
UdeI/tpCPWcwcRMThlijNzBP+g2MEnbwFpBer7ha/rLNqm6XC6OANyV+ZiRJqlyyDQsrfGJtfy+r
8V2243daEi/HUtuzrQ/0ne5GOWO+BqK/iqYGWx/xPeuWm0eJxyGX9z3L0NWclecBx5LBjpJkwOA9
c9GfoH96irqHXpgsQmndV1UDiMaUETFp1bkgEk1YbD7zuAu9ZcKoYcpbRdcxAJbYJGwFAjE+24Px
bAZ9tY2T+QGH27ABbXAPJodFeBYdaLXe/ODBZ9aOyKSUq4o98rrrMgpsCkxP4kvK7BowvnuDbGwF
7G7XyQT9EK7n4lnjAL0h/JBIoXZNVJQTTplFJwagZoXfoAoN22PyfNPGmC4twIKrOF3CoMd7Wkly
J8w3oyhu/Ka3d9E07+op2tYDaTqxlj2Squ47uWaHus6B+gJPOAXGSNYsVSXd13hr5gcqafdA4Nwa
DlWAQmbw+Gu8kHrfwPcRvFXaQYPnZz+zTN6ITw7nGUOyMfQO5EYb0RXx0yItwsjeFWBIVtVQlasW
VwtR1RR9/RtRQExp2HZuyClFYgaJlxfCiNsRwnEg9/y27Cq+8vJnSK/UrjWCVjVScgxeB2SboCiW
ABUioeBG1D8qkoTJJ+rSxcnWyd0U0+t0VLn9BQhiT0ZBT9OGHll33+k4P+eo2LZGHQQrUlt4iRiS
3pAYFLyZ7aWat0GBW3W+Bou017h7kopDo46IbY9CUUCVzzDZbYqIWUia/tRRcTIlmiZaMJe23lWr
JW33yUTyrE+dDdTe/hkdTB3Fs8Xueofw7UOiZpHLxPwkKA+5o35qdkBbWRc/ZAd8UlGPRFYkl+Ua
aKP517q97u/N5bZJgr28m3ib8ihecCp/pna0td3hDyTLJQrweaWcUZZswnKQL4E1HecGdPOi6eJr
p7kdGoGujO2fZHuVB/bOuI7CEzWfCtck9DWt+m2KgNFj2bxSanzhGUUNYhHMwXHohU08k1UaEMvT
x5s8Sw5gh5/xoBqblO3fi7DRjow6uu+Sn2B61b7zin7mSZY91SbUFaJI9bqNiGFC1IEiCS2lpFug
4OXZRLNba7LJvK3zbno2/g/nZSp7gwvaPNRcPIaCzr1R5POmE87bAPfDiq+kcLRafDJBfMJC8BQv
3t666t5EnLSUwisqAI87i4/DRnOme4D+XY3rcbDvgiS+V78cvASN8m07pykZ7gtxTY+B87TKRo2E
wHwjAM1ezXZ9cYvxaUKnAAo+vcuAxDsBOjKfnaxgDUueDkhvbN7T7Dxan0ipPyXO5dbkxszdF5l4
j7ZXbfDnn5Ng2eUdFpRivmkbnpYY67Q/7VvHfOs7qPESSQg/1wFT1RY3LsOYjPc/sR/OyrSHg+4v
ufbOLQdAINJy3XTWe3RtXn0jPi0EzWurPuW2tzC4a7+Vnq5agZei12gZEuRaI0Ad04Suec0asqhi
+qoO9ouJm8plgwwT7asSw71K+gU+gEtP0z/KQhwRWbRrlhTUVEjtfTaWfGOGsRFl9ksBYLGUsTtI
i/V3UiaA1/KbBm+xmbs/id8wp2oatRGFFW8n8l1mdcm9fFo3ujioYcJPArlM1+5nbrU3DQl6TXAN
Pcnx32ad85VE1X2TuiHfArzgWwkNoV3GU2VAv8k9pBtEEZF79BB1Bu6M6G+pjCf76lnDsfNk5B8D
Ggd3sddGbMKjHm20naXaOJ31LfvuYAfpI0Sc+FBX+U8XXS92UnzM1vCaV1hVKgencUvwq5+Olzkf
z3WWPmKh+KSE+CQzDwJbPWxdNX/0KiZA3uRFbpRBvk6WWqwXWyJv7v+ZVE67iSNz48yMZs3UvkG1
zjQh+QiwBF13qqeyiI+ooB9KfxQraRrvSzyeTB3cJEF1tjnCgaLsurpGYgDQjezakNiit7RoxPpP
u+rbdYqvSKmIAr6+Lw29QsLG4eLhjokwf3j6uFRjGGF79ZjoFbmljk5RPiKGXFUEXNkV6pd5xMKU
WNFrlqGKdXvIL8soj+kiHNbUiOmNOt55ugKauu6WiQAkmebbJZbHoq4+PaE/kI7fDmXkhyn3KU/I
K24HGRr9Jqjqc9r78c4mcFeOfRxKYgOdbLkYUXVTFcOy064Tuj2kH155RuiSimzzdKGiHPbugML8
qqeefCx21x9KOcED0E0gwsxTiMbzdtzF1dkpXiDIwLKt75qke0sGtK/XW3CZtb2qKI+2sceNwiz/
gt1vx0T8LZLdhcntbdRGJl2CPXI6WaGbqWMhyscusd9JhxE0egll7UhEagAsVnS8GKuULCci1mKT
oQzDY7WnG3vs5vJNddk33e/T6HfdQeIHcaoF+qMu3lx1alT0TnnQH5KEEiViUE/YowgJtEWFM7s5
KCZ73xiCsV42O5QMOj6Vs3GqpTIu9JqvE6ETm6WX20YRS4rSgkDmDiEOhhom46LI91VzrmqDBQF/
AAwr45u+dzX3w5MAer+fFuOi6MoPcZkzxPTjmyEdaRqNZuvMrbFWGaJ7Rd7R3JbWjVGgZdaLjtlE
SBo1H15qSfb7PAf64Bo+cvw58Nc4wMoHY27R1EDm2P3zn//1/6Jyn/Fcsr6BNp/maIGVzbuqc2nj
S/JqE38TV9ObL9Izi59+C4WfVOxgPtQSiKzpyw+PObKFgXoFQvAa3mZsF4tCtRcRkz6rXNPaQExu
2t1Ahd6MvMOGhgFk2j2qqf7sOxBQqcfbZzEgwFoDUcbRn5QzsJeC1ZBmbry0mpAFHJtIX4t3o587
LEyU9t5o/eIG5qGhwi6j6MvJBNgcjxE6VCURYJEnGY2fyeNY8vUNzpHr8NxAtOnvZSS/AfVjfiEf
dOYQjvqIJNP0ZAomVl1gvwb5pUeKgEf4rK9/XXrdwDieBXk/+RgD/8UXEDHI/xH4b9bDnJ0W03so
1a3KwDCgrHmsYhzuGJkIFxWMNOUtHsZVI/2fZiKmQ8SQvNziPruuDgKjZGw4NUdhxiMuCIcnIqjm
sCcjoB/QPepYT6t6RrKG0I3H2jlUg/gNTNJIyDGI0YmDiGUS6kU9kELVcmc5cmXPGO9ASN022fA2
lS3l0JRha3TKvzFd2nMHsT1mvG26dMpODPmSm5L9gIM3MDHf0lmeg/gPFVR2NJurF4GGU6V+xfGY
PZbjS+RgSxl8erQkRh5bY/2euhqVcI0yI8jonSWyPBgyuyw1rdc84LTOOyB1OSMWaFDuDsKj6Jm+
eIO40GM/eWb5CuG/CI0Gg8FggaCIDVhhvr1Lr1K4DEUmHyIB89LcCyaHDKnQaTL2xPi7FOxKsDQr
Q98shneZ3DzfoQziq+yjwy5sa/re54IhsRwZVUYDy5Uh5qsAPtMIXePKDQfCUlX469zzrDBahieL
+Bn2XRpnMaSflcPAylU/eabvmqAa9wUZWWiZ8IzY4tCVXY90h8VUuzB8kjL/7Bny8bapiRXTTMyK
OjnE2XAtoO1318P/yrQy3vG7mzuzRLM02sjbrqun6EMzYcG4ZFC7Eh/HzJKEjOYmLqDpUYzcR2Be
gMwx7OxNI9gNl8G4ImjKXoVB5RKaChIa2d/oH3rNxA9WKYBxMGrbwIlzGBwNSeqsLacm7+/JVU03
rdvy0ZArwVz+HLtwFXrmNnAvmQ8x1qSWUodswEJDN7VLtAA70KfmuWPtjqOUQ4yASjw26bkS5m2g
hLMTZq+3w1wfFp1h0MirMLEFSL6YlwMRhe1xZN6e+1gasnx68Sp8oGb3zNaMz79agM0xkY3SNrsp
asbq9K0lxlfv2DjDtjKdZj0SLAb2mP2pbhjaK2cyjg13MQwwYIEdck8aiDdiAsLKvdafdeeCwT24
OSdpkdYvlbc4ezxncMlFPd+I9roTakxj1Vslvi2ZN9S1hbsiv3kIRcJtYYzCPrJvLDseNNosz30p
C2xj0qqitS/WlQ0lwh1JrRc8oq3yr4/kbTHxV+Qzj7BTEMEphACV7eoT/trXzuPaRlbnQdnL0dDw
2G/K6YVs3X6lXf5KO8dgNsXkbbWsZDx/eCUczUIKXp58hpLHuL43GaFwR7Ho5lMJk7yF8ggSISQL
h2CUeUtOOr6Ka5Ul2fWEno8SPIuHvaBxX5lGaYR2L6ody2IncattgAwzIea07fWn6YnuobSjcMjm
V3AMJzXIAWpCVqOnxFpRzayIFgACU7rwm4w/URpcATf+Uo7Xb6QPkpUdKoPDwA4aABaMzT31Y3cF
l2jO7oarU9eP/BciZ/09PqUhjAk6WXVoUDe21qT0HpuKO9mNcE3xIEFmUWcxdxw3U2UfpI2zk7LC
5Z4TyvqZYvfTtP+GaSHYSN8HKgtdV98trWfetCnG8jb6RLvHVwvbw9D9FEGWIhSBI7Og4vGMcbiM
7Jg9/FNZMoRtYrwHjfCRKkBW57xDUiDIySSX7zvJBTsd1l5rlLHUGgu1yEzFSl+7s2vOypJM1w2v
7UPmRPONhxVnldL6iKqnmI1rYq+VsStU+tgZhbltyDAVBoWhOb8ME4Cq1mQqPDXP3cBGxBvx3ZFY
BwYoAK8zFQvffXxO2u698FiROX/2kN75dPs0wbwVh2F6FTbtQI9fbUXCGzX7vqnd5DaucSXUDmsD
apWxRc9bD+/AI9B0R2eCHgeCPn5ICOypNhjBD7Hx1DEUqO0iWMV25TH8cJ6HiPYwK7oyRAvySRQH
5CE5Qw5LxYF82ntDKCA0LnQbuRAuWAfMrwk56FZQ4xj+q+rXdMavbjCpWLxxb3H27PKKfMm6+MJR
HvG1mEsMn87Yls0DP1HGXYWvqFFkPiQOGM9Fb3IIvqUJW6iJnDvdBtlNjS6Z9AX4SHgBSa49ch9V
a4v0jTDpCPJRWLNEg5BlAp2V9J/zXN/yhs2ogkk6U3UKE7VCB6K2c1a3J5xlTP2DTN2Zi/rJWrQg
XZI92mYQrRPN6DWpXQh9msEJBrr+tvLWaWl8M2sfP4x4z/YVGbshLkPLmm2Zqm8p4YNKQWvUtBd9
deZklrnsYqh2t+n1Xy7Tt9II5M0//8srIBa5TB4USWS8CvwnwAXTvkQgvsqRQDAgyre+EUAWbIZ5
ozTncKSsp6xPQWSn5muryHa2bFuuY2fve3jGxBK8xmkCVKZhpl235Rg2EY1MOS7UQoSa1hqIePs0
SLXsbAxI4QBMacoF6aQV2zlYIHrHw4OL2Mei1Pl4fy02cZRwnLEeKns6r7wOnabtL4Mi+aviglYL
flVlNRfyrhSJcCAp+XoE8EbHekOP2S1hAwz5GTPiKPwaewsmqWQtn/XWi+NpibrjQ+kq2iUTBusa
dFkjb8nbgX+/EFVO0RpGytgOrFitwmjJFBt/M0xbkTdgDSd2pumnbVlq4GHRBSjZOfboVWjL0MEq
eLFGzjwGWDTODnLj0+mXIxcYm/TvLKe5133OGMaDxDGz/xS8l+KioxPAmxkNd1mEazx1nWHTVWW8
NQrwb9ry/6Q74D3sXqYOpZkg2mdN4tJatjPns7P8iMnfNw501uxPetygS1l86wmShik7aj8D1X81
x8fRUc9Njpii4+ay26cpb49Bg8IHn2aIzvzZyuEaENj+LYYGn7xjgZYLbJJebXmyY7UiNJoPMfYO
AZKfG5VNz9aChS9WBtt28n1zKX7gBux6ggdxihTbKfKzzZgVTxAi2JtKnPzIyNHgzbeDw/bAFdF7
cocChVNlHY1L2BM2bgzNGfBYsUOWcZiH6Fa1LIgls4jcmpDqSP5MbFCvZeX+Nst0FuANqFI3CQES
GJIrchM8A0FQu80FPq38Wp2xR7n1sgRLd95i2BycvXa7gwUxqS+nR2NerHOPFshWLq+BdA+XwqV4
d36J+AZnDCvCqLuFOVfOy4DrZmtw7YieGj85duzSmLl92qLrTug/Oe39eWt0XUCScL0ORMLdkt4X
NVy+mLO+bnYtOWneNdM9B5AcFpb6KDyCnKMJu5Jt/MZu/5mL/KuDqMzdb+9Gzeci0pGgbDPfeksL
rpYhZJaVoWFkbNAc/Hx2DRJE4GJjwsDG1uUyD2iWET5xwt5kXfbM5/8gvxr8kuTaufx9PkP/NiDc
dqStcuPfqZ0eWlv+qoKwy7l9ZAsBhTQzYi46eZQB7jId0Q4I66reYY9q4Ln2BHgjMwn8VV8umpYf
qDmyI+eotPVFHgeYpQqd2HWbVXXXUM/CBxZGsgSxVMehuZmdeSd5girUeyUHd+QZb06f/jU2TmxY
1tOuBtQ8EmKQNL+VbF8DFTONrupbTV52xJuTMx3Of7AvxXCeAErgnR1ZnoS9nyKpM4XaxhSqWkmS
oq82Fw6fH2n/stD0w2QJzhOStE1lie+ijO8xCyc3MIRuJlJnr4byswIQRuFenjxAgXmly103uwQt
lMzKOgY/feWRdDzFp7ZTehu3+gEfWEgiEI9/Lm4amtK40wZGedADZaAJyo4xkmW/CcQ1TAvdwakM
fm5wisJjikN5SxMGBt6YRywQSXBksrGe2ur6HkwByMvqKVHNndM7mwmoA98GQdD4aDeED5CNxczP
A5i70qzL1+kMQ086+Snz9D05UXh1J8XGamKJMZFZiXJqpzsDQIm67RbTgto8bHFNgFfLKcpUu68r
UB89M+G0grzTTVXoJ8s5hV9NkLGuQlN1N7GfHaLYRKiO4sgCwBjCr3lNaRYL8gMA41ICdDEcOIp+
ABA/MQs9nQFWCGJShI3Z/vQ6fSvMbl8GxRx2FvVu0eEOoa421kR/wtoe77rY+VLiGDucmlM6El5l
/wVoHGrhQqwcgl85d58Mv4T2X9ig7KYqZleSHx2a0iSmjJhi+1Zm020yIqkee9QeFqH1BMpbjAe8
0rubbMxwjKeandLmDVwZ0GaN/dpO8G40A1O3BLPSDdk6qLxLtTiPkZM9CM6UrS/7Xd4su0BZNxFv
ckHUaV+zIPNAJmXEWTlY4DIsEraenA0ySv7Ljyl2FLqYFp6x2ZWHtAZVPVhb2XVUJQwbAzLeVsoo
TmJqfqJs+MlbdhUkQ1r6odB9z0MzY4Wp39Dd/6ST+9sPdRhBOndMcrRNY2JfNgMy1HTtXvLFSJaF
PQYyhmfGrVMvT4krXzI57U3bOWDK1Bujs08pOZjgZdHo9LwQ3Rav7ekPLXWoTcULg1zXIRBbV/OG
NccvJOt3Rf4lnCvgID8w1L3HEmbz+dWvSxRsGtAHWJ2s56BuUCMF70mPtJ1N58kAk7BCaNcjnJ1O
buk/4rViwF36z2YznAj0vf0H5f//Uw/+L6kHUgb+P1fqe/qf8W+9+ew+/+O36tJuvnyWv//5L9D5
1e93l3733b/++xeuYQL/9WX/nXwgrX9f4wnYxdgOMQdkHPzrP/47+UA6/5bknzH9lL6wZOCROVAh
HUz+81/C/jfqbcuRoMhsKRHQ/O/kA2H+O/ADpmiO60qLyALr/yX5wJfEOPyfwQfCJ+kUw6UtfEu6
RJWZ/Pr350Naxe1//sv6H2zNvMCr02HfFCaDDrZ66DpOIpWU1QsGJbfr3jrjL2+cB98cshVZBl1Y
9RNL8oxGvPILimkK4/XgV6+qFrdm5z/5g5/f0NFEx0H/TX1xGnzwvZKZUEpdCAcJVr+BZDwjOX3u
BTQUzMXX5pgU81rQ1GLHqjyCFqrlOQ36DOHJcrES414FBm5AR362U/4sAxuCkHOF+EC8MrCtyzsz
dKORBb2iWtZo+uCdQ7csgbON4ASsz8zCSzrX+cacntm3AkdMxX0wP7DKfWroRI2F8KQl+Usa7+K5
2Vc/Brd4MM9jE52mjowes7nkFmpd1aEe63vCB9UA+TYBox5hAI/0e1s0O2A7YUseEDBu+SKc5K6X
+d/Q8M17rnqjqPmr487B+8pllp597yn32ADlsyuuUx7zPccAtQWwaLZFTsneOmrDbKwo35mnWwJE
KU1NkJHGTv6nxdqDV5fJsPjH0eQXNKDhTC5b1DL4cPgSeGkolYKIbrGkPyhyRqnz2c4RjHken6rI
977ApplQoJua74G1Lou1rNibxA/HTP6nxPMBVvoHMXkfLAa+IwAuq3RYqG8z6taxPKZV6YK3BWLo
/XOnGIDdveXDYjmcCTYNOUhpkojig6e9dD3k4n6RKL+VY++vf3AmMAX882lHNMVCvcYz10EVIAX0
5L9mPdE+bTYxEq+L+zbWN66eiN9DxO6NywqzNkilUW+uDngUfRzF7XjpUf6j56rwbDbtxsH5tTGX
+DlvA2JyJJreoK7+WgdcVpFV+zqNL6nk1uGfXee3Li+11mI5Kl+p94cjitjvqGC13TXBUyabikzb
MzUl0g5aC+IyYQRlGcD4bME2gE7MkvOdMVjfdvNt5anxYLfRxioCZhW9MjdOgpbNixit3IiFCrVh
Z7Qnjmf0G+eqSco3oysPQ0QW1lCt/3lY8HHDl2AusmiLLZr5p+SAxXx27kvmwPCngyc9xa8pHuY8
5fNFPVCa7v2QNjaz2fhed1W6zecIoeiVNKMrfkzqvIwBzxyp6WCTv4aKRyli2bFLPOBmbFbxgzn2
DFkCebFr4A8+nMm+CH4hsSRp+YC5MLyqmgth/sGjnpgSXR88nR+KZCKNC9Uqc5i/KSDL3La5KmyS
X90RwDi2BpHzJJivFtYy7tEJTpnBQrg5iZFbBK8wZlRSMliuNoy5RkTBdetvuhrepsm8Yc1b9Y2s
CbSahzL2r+QjHjGDh45VLKUrBGqH2yF1nmRAFTqofI8e7WbJv3KWNrnPcAPk8oq92J9pxX+isVD2
bsWSwhqbtvBG7nBVKOhKPDTNAOEnAVCT1+VBC3RnSRkdO0fmYZHw656ffTmWbBn4UNSz8n+rGqBH
PR+hFPLJbijJfNBE/AoKN8DfaJOmfEPuRwetJkrR845YOcYCEUf7JlFvAMPSDjDQaZe09OacnkDO
s/Wo7irFCVS2hKgwcID3mpdfBgcZiD59KBUHSwVaeV0nMLlaN1QxyzTbRHpjJt62KayH3qf5yGLd
79GvqrWtxmw1Nmx9Avv6zPYUfXMqL1T4NOVN82nXwZ89FfnaaItNm2iElXiJ61xFqFeMo98S7kSZ
eZcny02D4Sh0ND9QkLy0AHXB5wD5nUeHCgmNbUVw4Ea3tJhBJ7ZNlla8DHLWk+zmKWZw78AHZHEf
pM6jIbpw6gyYtMxGhJXXGzPL/5y6ZPpjVHCQE/cyGnyCgwBLXsXMbCGMSeTj1EK9u69Be6/Zh+mz
WTYoUvsMIF0JjzeQNcdbObIqAzAAVZ/pK36aNesMHE/4ZwfG4utRBEwfrtq5W6Pko2Afe7JV9M3i
dh1bFstUldHZFo/OyKeVu2/4H4Axgdjb1rSLOz2rL5VjUMZY8sSozV5j1+DRK3xk4Xa8doBE/HOW
xK19Pzc5DXrQPeBHeMQ99wMy9bnxAOuyKeWw8OI7iYT+epdPwb7DQ4DacmAosRvFCNaRxBZkxfUt
Ng/U9CPHbSWoHB1ktf+8sMh5TteLwTdKcC7zyRahZRQwGM7c9MsZ1O1EG0As8V8iyl229O+15jaw
rOKH0EsCF5wOt7Jd7kphu2FKtGTUmgNrJmA9hZkcdRZowE/kFU+YtzntQZccjBgxa2R7F3bl5xGz
LonmnMBsftYahnGPeIHiiPfU/2LvzLbbRrJt+yv3B+CBCCACwCt7kRTVy80Lhps0+r7H158J2XVK
KWfZo+7zeVFKdsogQSAQe++15prNv0xC4dm9o/1Pp7vZYgAwo4uMupnWU8DDCFUDS/koqGqXinLu
65qHU3oxGo/3ldPPcuLsMwrs93WJn4mJeDTynKQqLE3zL2UvTCR/hH/KXjlBnbLWwWcmAf26L89q
+Bi2kHgoAtG3imqmDdfCV9IsNl5C42YhKlFe5DtBmmuQRXBVBlKz04BFKhDtlihg1FKO8dj0M0uF
C8HT7+Qd4D2GNOPIUJYFUlNMrMD9MWWh0Fin/akafeRMFCY+COQ1TTfW5HCgzLXxsoiL5fC5pmbL
fIdwhpfHITePtSrYcaTL7iuOsNwZYk+DmuRZGsXz1H4YITweR4qQNUq+FROnO9NAmSXMcOd1PClD
61q1xbJ/Y9tgqPLBYEoDT+naaoTP6oaphel7fm7ENiiM8LJsXSLm0k7TGCtHiss0mx9erhzPWvQf
0GtdYzqGuaG3DlE7TG9S8N65TrbJDMCuNpqbofepa7MDUiIcFBeP0poLyUZJMToMVUP/Vs5wydvY
4fM3fZqyZQjEbcLal//lDoLxscK3UZn+57ZThG714Tbs6Ek7q6JynsnNKbaJwTZLL1YosiaLBSBU
9jFUN/ueU54fpNbtqZXjzy/VVLRLSgythKnO2TJt9dh7R0tAGWlLcWAH/jGscDIifNzggHnZHBPv
WqPpoUn+PjVHzGTN8q/dk2b3OXAU+S4l6kZA+rM4Bg1ffvyMJTzdEP2hF76XfwyL9CaO7XHTQReG
yNQcX6DHL/hjAM10iOLFCg1208ZDqwg+Or6ESr/8+PKlW/7C301Bg8fW/gLW82cstq6Y7mpmIABX
JG29zL1Zomh2SYO313PJkK5jodeGRQdT1i7ttsXEgukR1d/Y2BeRQQo0I6T8IYTpjW1XsVjHSeft
M5nTf2sx2OYR+Xo55/E4ZumTqr10B4iCv6iSxWQXYYgRVdAe51YER+DFUUXzNSYYnTvJn0EWo7Lv
aC+EObKh1tzmMoA0Pong7OgWb09IHhUhOGzam+BMFOXZKKS5t0JLH19S5T2Gd6G2R6K/W6DC+YOv
/tJj7j80M8Phxuu/FgVlcOiY/Xm+S0N9KSsUk1bqqiNHQeP9qXQDvWh/VlHQp1cp6YzbquaCcRtz
RH3tG4g5l28TR7LF0en3l5/gDSeLF4M2wgycZwmKRIJGeuLyHQwglTvBydFOeYqLqNuN0vmYGzM5
pFysEDP0B8fUza6QsGEgFwKIMS0yEf79s6TPstV5+C1b8jjNaETz/eNbO7HXgIHYO/ocx6jJLxaG
jysopcuVDQ1oF4uZdkQA077I5LkqegaxMdSsQDFmWn6SQ7Tk1mFVIhCqLze9mxqnly/N8tc/fhzK
ZyuCaqiL1tlSqKBMztrhxMhAbOVQLqpg3RMb0VMbOmwCkjwaztoPCaWTitlbHVyy2VQnmCbqVGW5
/vGdb9fOxm7R/r782cv/wkz8SAzdUWDf2778ibX8ks4BeDg1ELWuMa+Fpa79Ie7prBqncjTrj0nt
57AoTc2QEO8GbP3+NFSDvp4M4xwDpHBme3iI2sa4tJk65YOk92oN6alyOvFoNEQsyEIH+5cf1Rxe
rAzKsDOwNysHUz6mUSzOYGkWdFEKZUZk5S713ADytzV8Ym65d0YnuUuURNiSjB8zDGzPZcfwIEUD
TJtTsT0n/o7sC7Aejn581V+4/ZFH+P9Qm94WUd4u9fdSjb+KKVyqdRsaqKU1F4vrWXQTXlfr6I3l
DE2qO7RZk+8ZCy+1agRaEQOf+9jV7GosDEsRQ3863zy9/n+Obwu08to1Hct80y3wJltODJA6GIjj
k5qrS+2wmaQQZDLL7HclG7I0Ok1sMpa23x+b1suvb93RQktbYA513xyazb9h45nskHxQJy4FY4PB
YkwnjLTwm2bbPJhhE6xfjvp/va8/9L6EpRVxm/858fPwefgcRa/7Xj9/5WfjSyj7nWtqcuEtwr/o
Ov0r71Ob76StbcFVZNP9skji/Nn1kvKdpEKSnjId29b0tv636yXcd3zmQKakZf73XS9h0T97dTER
KWrRIPGUltp0aWy4S1fsVdfLJHR6jlUgH8wyNrii0u5gpMVEXqG4TqLEeJ/mbCDLgbZ829lP7gyq
FP3EdIS0hNZHzFQ2hkDzjnAUMhL+kNnm0bE4shKyYMyFeq0DUe97UJLrsSU8s0TvOKC1XuWVCu4H
18jPVtI8RiV+mDY6OCyQxwkwwpEU7mFjaPoOHgMG0FBsL0VgHPzebEh/bg6ToAXjkoTAHhHwOkDq
EYz8YB2iFonJlA/OgYISM0DfzLeo2l7Ibu2mCEfyTlzURgGt+NkEvdkNPNLaJnahh4MnavRThQVZ
es1DVYwHW/tELxmIdoJEEb3NPD225oMXULVQZAG1Kk7CjtMd11KNdNcPtn7tQIiiJ4H/eLBvmn74
2uCRMya493VcAmEqh24/GPpLq6b3LhXKBWXenaQ9dNO3bFeZ71IhJ9ndpNr0ym0c5hSxt2hMI3WP
rmdjV077vnH971XZQSlJvGw3WppANDst2TZpVBWCsO6kOUivm+iVsWEfSRKO+6G7KDu4zpgYX8VO
RSNG20AYxu9QRJOboTM+GAvjqpDzfabQWXZJEzzkEZEpJHqhMbDLa1j8BLSXqX0Vk1Ay8B5PUWh+
jVtPsxKmULcIf94EJvg5onVoxTBYgr6c78vCqaAg4C59dc/9wwNBLwv+vx8ILxeyBkvHzWGyJgp3
ybV9dSFnRGXGht/oh7yK14npdwdldWgtWBe32HD8KyXKdstxwyyNP5kq3yhSJjFZ2/FRhbK56b2i
3BiFwP87FPsBIzkeo1ExhO2RdODJ84JHscCv5gk1rFP2uCRwCs3oZ7ekeuykQKVN5XJJBWDVEpoL
Q+mMUPIRllrl7N0arxit2GhjGeV87r2B8SDjL6NpLhD09uFkjFudAnnTbfrVKZPPTj837wma33uz
89ynnboPyX/u5+GTxIW6YSoWbNnIsEOwihtcMfeNDcSWWe60cYJBPtYpWv7cMmlktNnPBOgfHf5/
OOFY4t6ecXt58DmCNGPTtpW9PKdenfHS1W4AKjh/cNjwbsKpJYeBJKkB79o1SXprz1fv8yAMbtLz
mJT9KZ6M27HsP7XmMooHBbepGJCtyq7+iowcIVLa5wdLZDUZk8yrEwnCPop3sStj1Kt8CSqqTAHa
Y9uUAOHiEZ9uDeLE6GLrliTgqy5s3GM0fglyOzkSavG+SQz3EKfRbQU5nW67Q5yXmz3XiA6GYCS/
sCwEuvQqPxvS2rtd4BzTGmQtItdb5foESo5yXyPugxoqcArmAwm2EXPd2Sk/DmZzTtMy32fdbOxt
99ws0OKJwca28saYOUD5MTIb91YP9tHTwDzM2VoIs0vqkjg4LG4QEaM9qPOFkRYXzxNyftsHY5aZ
5JzYRrux6Kl25Lvuwrh0kMKbISbGwjtNiDAJn6Gahe+C7TK0j7EUVzyHLqmJAlFMysPAACNQDleQ
8deiL+h4lVQggPg/OKr7iin8nIQWOYb2E4is6AHe3lXSIs5OmzhApZPswyK8h7IB91/QqDCG2Nua
XWAyZO32Me3wps3rc242KDiht/ZhE60SDJ+nUosnnc83nY1NxmySkajhZaLXRMPOC93kEEV017zQ
ybiap5M5L01ZlP+bsqwOVQr3lHGxU0MGMEKXJ0nPLT335XSqUPhaZAYfHV1uXOgMV7h5177nDuue
OnSxsrhkMZC0Fgg84rOy1VJYHsq+mxjHBtd9r7I9N/q3FtMB/dceiaWk4+C7ydc8bBqgybU80tVI
aTVdc12tXZXgcpyTc4X4JIyZYHYsJtSvOX0cgJ/TguqqgmBXNXNC6+jOCjP71u+ifA2Sbo+wEVXK
pMBKeU55/fLFgQ/EOLg6TrwzOrpJeWBgkK881V7bqT9hW3I/WZKsGnS2yU6USDJdmaBAzMjIVc2e
9hu8R7b0h5jSad3HQXK0UJwQD43WFRXSZoJP6gUJviciDlfSLW9b3Xzt6nA4/H7dpcv3t2WASZkr
PS1Mcs6xNEnpWX9fBmTQ+ygiHeM+RlKKJl1Q3ecEongOwQ29mq9mz67vSJM7TuMAO8TpSHHFdmA4
0RU3C478xEOvF+E1nzGTOFnePwd1g4GUx/sVWP1vJPCphyg7EpRTdt14bhRpcqo6ujRa9hSBGH9K
RAQGYY1ZaJGV6pYfRg8tZjWP3dWguJKNYKKtRDl5BuEQbbWzD5nPOc5WBvWaj1zAumRMVDQNtBaJ
tcS28r+0b3WnMOjIM5AAaApQTqdZSr2uZT4B3zlXIQGXRY0w2V56isNIDKCCRIsE15P+lzGzAlSB
dnYC5w2ucEwPluceSYGW1wSl5dvBoIBUloLkweHhcBhyO3FjnS3stuvWRPkR40zg2ZPae1g8OO9H
IqZaC1osmg9Ky8l87rPwE1mCX7QReHtA/gBldHDKkAsSCA6JQ5HN0OCIDtG37ZgCuVsHt+7ai3Ka
OA0A6DLGmMgNfNIezqqgR9Qc+S2BIqK1CSBDC+1OmQk3eGJfppLgFAV8vO0YDxvUnzELQLJvaj5R
GQ0HkM7JdTtquQFmRKRWMCRnYi6+FQ72m2q6jwwv3NmOMtamZTT3Mja7c1rpR1Sgvk1UocDFTb81
O9PuDG5fvhzGvvv++6tWLxflv3cLy0VrMTJ2kNlrqZTrOH+/aIdKNEYw1/5945Nh40EBPxGCi1Km
lQ3NVPlc1tnBMObxvldf49kjmETthCGRdBLe8Bkyz97IGR4aZsouWI7NJpKF3IWJHM/ZgBnbmBej
S3wcW20g7HDvDJVOH92c/Eam5OF9meGTiYCUgnTCmVk12Va5kmkqfSRsrHW/sWEWXlcFaxmRwvOO
lBvYGwHZCXRZfNAp8xeNkwR4BmLtEdZi21jX/XiXE4x0Hn3MeDrv6JG0tnmv/LRmE82Hhqj82Qv9
zezM4jBYM4EamOJp+25b7pzbGBLlBt+qs3cUs4moM3a/P/H2myn7cuJJcxZ82sxZmPq/WS1y2L41
iQsODFTGPVgXx0tVsnp+wH3h3+Yj7kfTxgRduIjQ2hZDSngqmqg7l4o532Qb8X1WXPJQoSZp04kk
HfSoXVI+m6BXGbIHxrq2e+9iIO7kuUKL2BXqki9a+ihMT4KdwZVfBBjHWDLQvDXOAT0xNYHqMXNN
VvIoTHWTJu7HOgcWPvcEReWScYdOACfwOH9Ag9ZsZiTPO3bJV4bd+MffnyOK+F+vTptRmFjksJ60
356kIaujmvaNumePyBMzTuRNJO6amQZoHZImwTE/aBkna92P3dHs5pFyJQaJ0QtEzz1LnYFnEMtg
hxZVjYSP+tmCtamIMXDAmeeJJ2gxi5NG23ttEhZPXBEDPZnn+soto/6YtNG1U8Xvi860D8iPw6zH
ywzqHhmvuBokTX436Hatzry91zhfpjBTB1bFmfkiMoPR8q5KyzzNbhOd+x7FdcmkpzYZB5fsGDfS
zcaNcOPpktoscknUm+ABmp1hTlQ4XmEfmc+6Z7KqgS75AzLOfMI6mVygXoQfDKHUIY/e90ZXn4ED
7lB7htdISIIN+B370RQTLqJk1qesYV7CRoKF5BgEi8A1whhFzl2PZ34Y9nLc2QbU/IoQgTUSfXfV
VuoDQRHs5Kl1tuOQQ0AhBxLLRhMchkyLTZxrcSI4TYDACTxtHAw2TbfCHiKw2DVI35a0c2aIILdD
vCyFPhdd2t1Hs0mXmcSqqq0YAxW+s8GLFJ4xsn7orIZloxnXVpF8kePYfnYT0mJaojcrhRkvY084
sBW/9XvrW98QFJORuLYMr/MM/ZroMFi/PIHsML91WaDOhVldotK4SQfh3tQVrj2XKfPWlps5T5uL
rYarimnWETn8unAKcWQMVCgILJLQiWMZ6iszr4NnK8kIaJ2iCVljSNbkwpKaiH9vXfE0jN5VgqFu
k48GTn2bXvEko4aJRN7sWsPNT7Hr3LblUyazGMwIVY4kf1UqBvc0PKHXZftI9taJ0PpVVvXdabBh
CiRLxrPonI1Je3JXQq/GX50lj1Z0DCMjPFduUOzKJmU8svzoBs3eyeKvjEKLq2lkF8ctRdkrCWd2
kTy4CafdTuWZ3RLulaF9sCygS3CBaK+2COimMTCvObnu6vd3MYvZ27vYs2zKUeEqfDA0bN5UpC45
9F2T9NW9wle4HhHvb0q8q6BF5yWo0L2fNUu/qnObfFTjQUKLQN3X4H4YCOKc/IqJLdFdW0V1N1qq
Pi2+wm3k3xpZfmfLOH/Epa1lO9+ZEmNuZE0ezYZQPkFBsBG1aph/QKH3EDPwTbhqbzY8t1/WWatu
kYWkEMnIEuKTCLoBCbT/rXf7ezO1vMcgIKiMj/nSJ8yWAPLXO58GyppnprtVJWoE2bvjnh0u4DfP
IEyjEADnhibZIG6CrMDYao1SZmYB99tVOmBENSaX1FfXvfhVERw6Mm5WJUZhDhzkN6qzTsaEL6by
FrZ8HnQfkf1fxeTrPeJ17LdpYIbIXyRopvKuh6dOQwYgjDVXBGtGHDc1xvgx8x+0t/zfpCRcox5P
rzy7Sa+6yJNIj1ndTCe460VmXvueOW8y0zrHvo5WKE3ofCjrfaMFcItJJmfNuOaqZwaMWBxIltc5
XwlOyu+DztTrJowYcVigacrikHvWcBLLdgb9CNFMk+dsyh6ppGLLdN8KuL30EPZIbYDjAprZglK4
In3FwRA7s5sHtEOKBLxQNnsrHGz+RVaFB3pLoyIy43bvhki62tbAPzom9DUG4znqX3LWSnNfT4I1
jnxChPrz/YKLOOXy0TTDCjJQr7ArAw72i1htaUdvIiussLMNetUT/7Tz8TvDldMMxMKqardu2SUH
eAmgxIP4fUiaw6oaTWuTdkyr8gC7e5F61LCNf2aMN91xHjaqgU6mUvEAN3eJ+7YCUsDz5kajUV3G
j+sWVs9XYd/wxPU/G0WDF6LljkStRVpNAbdAev7Jt7MESld0LNIufUqF+kLDRlyDDUuf2so7ecF8
X1WpdUxpZj6meZtsAwEzSEfPGbbJGzxKBGeHFs7DOgGS2aA2AJvo8hEu2QCLEod85G88/7/79fBF
V66+i5+lZQTHsBnm3XhoY6u4i4xvEXFg67au3ROBBEvWSm6hqsXNK8zCfbLnNNszF6q2RpxiFRqo
u3gMPBsNdk5m56SeB5Ym0WSRNfH8JQJqWsk5ix7TiXQr9M/xFcOopxKXzr4zcyKSzMfeItuSMO3o
o9tnh6q+bucAkmRAfEhbtN+EFbunCX4myl5cxzOulQBC/sVEo3k3BC0W617vAhusOVHN03Pic9mx
OQrDdv5QjRMXT9Lnm0yJhZ6vQ0ACeXKw84/liCDZ1o5zkLE699iObp2xWNAQY3pb2vVDxxCWuQ8c
zkJ56fXcVWiufdqTfTSyJzOa6Rh08fs8Qgrhsodad66HMiIfCJsOQB8oKcIPGbRADJC9c4sFmJ5D
/Y0+hbwgqfY2Y4RzN0cusyNuRO/tHsVwG4ldFKCePECgs4hc9a5wYULessOnGIYDOp4DoR/1oZqG
mDaYyk66hOrWUT+tOsP2D5nhNjtRw6GyYtHfi3KH+AsYX0seQJqH0bzKav92VDRO4XamSKZ6UIa2
hf4syWpOFEQoRxAKlDfEI0JyxVBTDQ/o7dJr6U6QCyGUZlkKQWHZNk/qc5uW5Fum/sPsT8ka33u8
z9GlX6Jok3rTvuzirynEOKxyLmhZZEiz0RNNTfgr0V3NOtCTj565mi8wE4OVx6QWKY/NZtYU7mEW
1kcndw4QfT46YpYHM5vGK0+wSUhayHEJxKuLiKtPM83iLVYDgKDucM8MweOkebfcLPUxNrvhkpYk
HlS59T2tgnmbjGJ6b0/5TVBDrbXLijXNTur7BNCK5z0L1PgfXHrnmxYEDMLHrjkABnN+PCn/b7L0
h8mSSw36ak/xi6p681fKaKn+6/Vo6cfv/EtSrd6Z4AMAV2hFn4d75n+HS45Cbe0gzdCegDUoKcN+
zpYs7x1TU+TW7E5epk78UoNvGLG15b6zbeDDJv+edC0KtP9GUW2/FNGvimw2P0oLhltcoii1Tf1m
UJnEsEfF7FUHkGIYHfvySB+x2tE3Pg6IsI5Rppjj2Mi1cDx6YPlZxbZDVOUH0Q/EyDHgIJ0FELYS
GYBSA+xevNg1RAcgK3F4vsWkEO1MJ2y3ZdMGpz4nNsnFy15i2sLBKdsTZMJ1moTnrimMnRF8cnVJ
cpLCwdZgbD5FLuR9y0BWJqrwM7gpd984zNTVhJuiZA+ubXWiwsxDk3Cr2Q1IjSz+QvgIRrNZdC68
xXXSe4A+mg/2iOWh5G3xQK679BNKbHfj291+HDHtkIgCEi90nifLDIj58+F01Ma26PNkW0savn6N
JG32ccHkau+jFn0o4pQgNfR6YHUAXPnhfNJTsM8xRJROVF3XQkGGc9GRZOMVnP/54JgtAXNNciuD
4BNZLeLBjZjAJe7Zj7OapLkJyML02BUIzA3mNKxfNWIyLKxYvxihjdWiKAvMj7MJFAXyD8gA9TAM
stwSE5g8+IHzMYKdm8KQ1OXVwIK6rW3x10z+OhlT5UWkUsA49hZAcLORuHxWdRN96optFNDdipM6
QUshxvUUtXDUBtpKLatzxpKFd4lr6HsyoKWySiSwddw+vCje9EJb3Jmyfc5kkG7mkXm+moNTqDW7
/OCbItARVxamIBHKu7qXdyrpmrXnJSH44JD+Cvkruxu6M5c6GYaNGSTfQQaCA6bAN5lBkAl8jVF1
ldma4KccZE9DxmRTTye0Hzya4uqbKJRaqWqCm6c1OMc4uw05EBhEE8piCxqFJbuT8g7vE0lHztnv
u2uBn3UVjvlDj5BzHfmmC4+pxTldMtJIcqALQXOVuMEdBfG5mLKzMr/UZXZbVgjXSC/AWekn2H/4
UJIp+IRG+moq0fEYJPGiKrasu2RKPlUK3QFBVA9dkm0dqBHPCdJl5McLWw5CHdM41PqbzDEOnYm2
NaI3Xfo3QVdRV0C4chBkJT7vvO8YFSmCSpuOKG5Qn7usB3ZlVGjbOzPoYKHA+GAWS5rGuu6oAgiF
KyB+UWix4T0QQ8yGrHIOHaJPxl8D/VtmFEGGAFeQ37gnIqxcOxWD2NKcrqI4YG+PLDNvW7j3ZvY9
dhFah6cG0/eW0vTGt40j/Raa9LWDtMV96OpmuNF1RmtA7zF0P8BIbO8NGMQerfRc1OGzVabU7dF3
XEx+lqGpHdQBgwPdG4VHrNHeIZ4esGbhsx8RLNoJchG6B6mut2nir4uxjvY8zTFneDi4myxG2JM4
pMQwQYozmEcOJqSNhtfSJCw1SQ2Et/wC5te/VRcrDdGXWcYFZ0G4K5e1zYhmg5hxMF6+eD8NY7EL
zP6emYxBGyRdkaEGqHSStB6oDK01gDZyfzWzSBtb5XbAdodTdDxbIAdXEgUSDYQp2IZWXm/ziGny
UpQw72F16tN7t/LsA6pMopunZucnCMGcrkWEH0LC6Gdv53sosnF7+lH4UITVjGQ7fyB9swKklX1P
Y6A97D0Za4TAr6KjkSHeGx78JoYHiVCYuYOA8+yJW6cSKdOI4dJPdxIuS5svjFor1JA/fJyEDIOj
PtpkUj3PMn+Igm5BFNr43zpfn7SdO6d47MVVTnZP72JWDsqRAF3kmqeS7fKOQcLXlzAGZoE1qi2i
h1pj/tYzTKJmBUI0PsdCuSstcAazO99bAcNmguvuHGyoe0+Ae4UNyHPDqfVJSkXI0zJVYvq3LPxS
jN3JFCNg6xSCXmbiHZwLIDBRKtbUvIvfp0rOQMCXiWN4lbr9fgED7zt3ANbiso5OXjQvtomaQQ90
vcxqvksHu0Xpz8apmVA/UGEruDby1sgVVVkfoY02cmMdplVGcUFsK+kyYg0uJT7kw3yhJZcfjLq4
huNrnoi4UBtOBbmGyLDCykvOlCLvvW6O9wimGQL2VclEQUMcwzNLMny8DWtbb6LW1j9eRb28lJfX
U83fQyd2ji8/oGUbD1xoP15lHibjKemYM4Mrgg9FUOdUKSR3L99WES3B9ll5BS00bT0WpiU3RgcI
jBbvrrbl3WgR4YWZqX/R8jmNdXz5Ll/0fTZN8FUb0yUo5v57pjAbFBMZLjL+0LOn5ELHpo0zkpGK
TcN2sm+X2e2W0O7rdBH/BVaeAxLEi9U5I3KJ+XopR/9vA/rDnfeHDahgasfu7z9Lm3ZpUUffPr/e
gP78nZ87UNd8h27JRaCpBGU3u8yf4ibXeYfJTyvPEzRCvRfd0782oOIdTj92hEwANFyoxe33cwMq
7XeopDTgaFM7SJI89d9sQOXftU3ImrSlsI3SDeYmsMzFcfhaoBAMozlDmEEJAihwQ6RyRDJqEZ+a
srppWXs2Og3DPZiM5MyjWaw72i7roko2UDZsYiHJY+4YJCTshEpUAdAH8vPydKzSAM9GlzdXreiv
G1VBTwBdvPdCSrpX5/sfVBaci9dzKoaFtotXkr04hkWNKejvb6GiSmPZHgFH8FHxWMazZGQEWPts
fHPJvGhmrt55zjenMNI/HFu8GUP8OLiHiHRRofGRvDl4bcW9YA1qUUBgMu6LPe0XDAFTuGWTB0/O
D25KXRqrpGJ4Z0XdHyQ9/3h8PjbP0ohMtG0tApRXApNZIBuZbLvdZ25za9lDshHMQyCearpky6AH
Hm3Ebi7KwIzBSPyxLPxHhYt4c/28vH+Ld29zeUsLAPLfjz/2LRQJxclXqg3Xcd3fBwyFVtakBP1u
mBKWBXsZzPzXGtnwepgYXpBdQCp7zsMAoUJt/OGU/PMrYnFfbi6BbO/vr6jFH+Bb6Of2RsESL+Ix
3MIdqM6/v+jEmyEdb1xJbhcHRaCWFnXk3w/TBK7V9JVP4TILSi23wEk56vi59NHA6DY4mkHuX2Yo
Xa7sxaEbjOHWqetxnWLcPpeWHe7TUetTHNnufyd+fXlpi+KIGaLkklz8wK+vCVX10gqRIu6b6pvj
4y4hX+KrbdHHn/xHiKzE4PnMs39/Qn497UqibEC67aLW/KWQ9UMcIq5Fv47nLP1n30vXpekV298f
5Z/OurSl5zGXBjtgLX//6nI33UbGIkl4a/AW0SnxNuoCb0tqoQ/6/aGWK/dVZf5yFl8f6s0HrKH7
VYFKu707Yb/r0n5DF+8b8Y6wtR1MrxOOzCicrn9/VGuZqr89rOu4Wln0JbiA3yzIU5hgshi4oaVj
Qi0j7ZloP/PURk62Y7NhI2O/QU7XXZekKbYOiTFT1QMLsj0gBugp2TJYW/It98ag5SFJQXMHxBr0
mnXX7XrIb+Oi06Eio7ndkz4FBSSwZvQy8tqf8Mgy0/reYMM9TMlt7ZK5gZ4T5hpzqzOKy6C9E53x
ya5UdPjDO19O6Jt3bpm2g/0dsYH85bIlL0vLouXGJfgCRc8Y3VktnCeaacnGgCzcmsQMDb2xdXrv
kbRS6A72dDvkvbMZR9XjhnhIQU7DSPMEXlyxKt1iAL4RE4NFAx1PTbmSPWrTpqaUT1VxcZ35ULJv
rMgAomVonZW04+ux+Qrk3QAkM5gH/wO+YqY7cYf8LX7/+7csxK/PLsXY7MW7LxUL1ptbNfZSMCIq
JX6kQujVdTMGhfivsUCR3wxPcwxdcO5cSINKjYd84nQY6vvkNRdUwLtyjo1zUHzLE/5rmh9lpItN
XYqPoT+LbWQVuCoVbP1O0SxoaX5bqfPodZDRzS+x4YZPGawjjGg8J0kEQV7Gatb2GRkAvokSsM1O
mde0dIv5OzvO7saejIqifCJ8TKCusfOJ2aHlXMvWpEYBlTee4jnw1uRpyVU0VMeh6++CcnjCDZ2M
OL+KrIs2hf1gmurJVelDHTOkZjyMeZWkoraHhFawTU5IRiVRztnNTmltCjnwHLWjZxzLrkBo0+KQ
c4MnK44wyvc39FhWaUR1707D16lkfgAIftqKoMo4d6vUSY7SvXU2k86MQ192j7ZJo2gw2ptgiE5J
Y6MJLp+qCKvOZOOcA/Z+tIGdr+K5Je9Y1YjyeuNeFDCICu9rWKuvhVPfKvtRF5i+s0p9IsvtEUnZ
BycDdml441VGOxLLuKVXrcs/Uvfdkw5IR40VhTPcZIwXAo5pXrc3aTj94ar6deFimsqulaWY7Z3z
MnN9tUaOTaA6hS5k39ntrsxGWN2JsRbR+AjtH0N8iLMSzNcf1v9/PKriqatM5SwPAu7uV0eFW8Qs
eYZRapjPjTXcdUX6vYOLMM7GU20n8ET1hz/cPb/uvVxatK4jPOF52pZveqcNAV0EOnfsvWzQbHlC
8NEYP9QGCTb1Z4UyeOuZJxNc36pU8+3vD/7rjeuiNVq2556Hrk+/uXGDjn7S0Be8Xaf4AL9mF0OV
urJnmLpliyGrPTjGN2PAlfX744pF/PP3VZID28Rl0H22LE71389zZvoGpSnn2e6ci8cdtgXV06/T
gGkHFqvPGTXDWvXIgkiquzQsnsjgyFPvn2PViT+9ml+f+rwalwY2zXKBVOnNqwFTMAs0YXCKR3ZB
5rJsBGWC4hqZa+YCFEyHRlwa7HX4boobEqM2aerG2ywcCOrBJqgwkP7+DMl/+mjYD9PYEAp8mv3m
sqgqQpGj3mn2EsQKGenMwnCY7Pqofy6D6XvfMNhtKuLhKM4Dnnvp+8wq7ifHNwG3io8MfILVAfvi
McSpuko6AUdc04zkc920JgL3WF63kQnfgLnZfoThR0jgdbVwQGx/3KqEf/r3b+llW/P2Q/dAu1AR
Wh612pu9CFNLw2Bui4wDIOA+37RBdxEOUW95j/ISMX2BwDUCl2fZBN6RugaP0q4QgC43fka11pj6
MwLdEnYvVMqk2QwMmjf/Q9l7LbettNG2T4Qq5HDLAEaJypJ9g5JsCWhkNGLj6fcAXXXW+b28vWrf
sCjalmSGxhfmHNMN2gCQnbXxxpy12xIFncWRdeht/0k3KwZ6bjJvJhsEngzOhHR0e6fiPxzbh9ji
sjrl+T7mOaoIxPuP6stelB//+i8HhmFZuNg4zn5ThoCQDwrlj0DT4DF1SbJPPFbliab20CzOQ0f6
upPYh2SEONyXJZTB5CsliMxJKPiH3tb2lOc456PJ3dAAMnqxyMqeSWxZj2n1VkxNv0qXZrYDc9Dl
H5o/Pssk9495abRbrM/UP661KWr0caazQIBN4ubdITv68QiyKmoxRwv1PrfIf5Bjs0KJWmtjon4b
K/fn398A16rvb8/Gb58zCMgjmnbV7uLeYHWaK7k2Z+SroL3HTZ35xZZzoV6P4DpdY2Fnma1JGJXz
PKTdL8DT/7Xlc/500lOAc5HmFDK8348+Xw32qJy+JejVG3aj7asTwRWvfQSPtzHUWTgDAgPRw8+O
Yw6E3LgQx5pdvIDAaTvfz/zi56hih+PUAVFXpTp5wcLMmIHRFkuNs8Rzs0r5cEy+iWiq987oh0MQ
M/6KGtff8GQ88W2fpN+nyDTJlk4ImCGSGmhx4YsvlA9qHXnmhZ1sFDqF+1agGV35AR5xa44mMhVz
6nf9kJCiQAmDft7R/SCcgh7Jj/5q2dG74VXPbp9yba+Drdc1rz2kN6tJxFk0RE7K+KdvpPl/yBr/
3d4wJ4LIQ0iO4+q/dOT/v4soG0eMuynHqW9n72QHViCGMJNVMzX9399RfzgkXVpYVqO2dxX5/u9l
pM0zF0oK/vU6Lr/SGtaiV+85Ou/8kVCwpGZXVMB5sUv76e8/+A8lL/9H7HpmYKOawAT8vz+5ieK+
JuiF47lEbjOkMFDguy6uih+mhQJl9uHbm6h8XNIXV06si22h6OQj6nqUbxXyTP+n7fRiN9cTGTCJ
TLeVCKMlw+Lvv+of3uguOmYX6BXFxb/MO10sGhMGRbsrE0RwY4PIlvRMPb+bNGddCPHVetV/DbOu
Rctvn3Qmfib2LGKIHJbM//v0BIMGCU/w6TKG/hb0AysObQPrZzO73jkmEm5tui3hqoG1Z8rwYEb+
AYgjAa8Y5ldWZd9NCNc2qFqGkDhAQK9CPQkDX7b2XyXQv/s1XkiHS6fH62L/CwYm+m5wEvJPd6Nf
dRu99lzOQTD7ro6DDPrv199fjT++Y2mRgJgxbmPS979PjIvENy76qWVBdjN2JkhSfiqE41sO58Xe
Q0RPMIO31f7rDfvvjtx3MY+D91heENu3//cHp61B6JBdt7ti7l5HZd8bHt0hRnbiSSaJDhpkcUz/
mU0gWd24A2CAMDwZNPrwCI+XX7Tu2tKHUIdzNs8sRv/+xPxhFMUv6NE86nyYfed3n/eoeszpLWER
pma/c6qwMrW7NMzq9oa+8TMRVMeD7YcuwWG+px5rm+Qoe8YuKk34BGn+ZSmewr//VvafXi8qZF4p
y3Nx7/72Ru7wvJhWqYM36+M0RI2ToFByDnlLQtmSjHvborZHbByTJTLoMQtnHIGoX9d96hd3iqhX
0xGP1jR99mBOHnsjvk8ifIBxeQo0az41PhFPnDTnJmj6jRsh5hYUmrcl14UgNW7Q30J1CUCVzCiL
QGpQwglduTAaAlxvzU1Z0yHgGOh3h7br3vPJeZv7vDpoVuq9mE38c27EFotjshvLZLrJDS5rlpzr
M3vHtqEG+PsT9ofnC1Tf4s/UPWpp47f3d0ICCLGHbrMbYmdNukW67e152I5lj/ypd55E0t+7mvxC
IbX5+082/lBrQR1kHYZTEYvz70NsMAaM+6XX7PCqePilensvtCgCGWBlZL66qNmlPA5DAboiYr5p
WY1zTJT1/95T0UsBf3eXbcS/rgw1oKqu9u2GxBF1kXYxQAnRdfJ5CEvyEuN9Qi5M7FB5Tm2z/Y+3
6x8G6chvLKa5NDFwvX8fmpoz22cwOM2OiAJQbnGyM/3qI8V3cS7ihig/LSiR9iK3HZBcJwiP//4i
/OGUCbDaBDbQAsN2gt9efiqlsgsSp9nl/Vys6+BgRevUb9sVJByMQvp//o9phf7QS1Jh6wFBbx5C
q997ST+zqz6eDX7mUAQfxPouvLAORCtDm1B08jEvB3jhUxM8aai3eRtGP8EMJSdvippdPEXBXaq9
kwifbPtCxatRiGSdjRamJJMUDKMhiLwiMqDzkMDmSIGf/ahd1woPHHVydtayycMb30HCi2rE3flr
qwYFc1umhGgHLLBb4H05mHQ8ng5XQJ22t8STWnb1uBV1gXXMnKzXzLY/BjdxtgjYSz7pPWAwY/lG
thG9Zx5xeCQqmLr+wDRHe7JJyY280XkRQZYeGH9FN5Eg5KKCTnbn6IO8n01gxz1paSw2mucOhhh4
VjEN7qtvvfSzkX4OzPXliDuyF08eHcR9NToajoYId1JBDtTKT6LgIfVgvcexOiW9uJvRFb20pQEv
WZECiFwArYdXMSIybftSBvkLlUx/kGk8306mjqqmN44Qrr/TBGU3tTGlENdhInKFLF8mlT7pMgYZ
OSJYCIxOfUuo2wqykd/tysk5O0xw7zNuBcLlMbeovnpMhffDTOr5h54Z97A4v3WF0MLSJDBIeb24
wTj3s1YtNjis/iSXFVWPaxAhaGznw1FUJR1Yl89yAw8f+oFBnhNsLzAqudUeZyBmZ1Zur52W9jtM
4PJ8fchLZryxKJfh5Xriliu7uCV+q8PYaR6vDxl+7Rw7QmPyhRADJ3rEmmEPv+5dH4sQNLSDjHZA
a8I0s5wzo0f3fL33z82IQnVbozVGxVIXIUw6LntmJaDCKHGDTZlZZ6yabRxl1QkwPfAp3OcVtBf5
nZQzupc56o4iHuEkLfcINMm3eW6CoSR45qJVErcuhPUqai7XR9j8qYvIU3vvz9m+ku65Q+x/989N
Q066oFa59QpEtWjAcQMwft/DC56ocWv7ecqsZE/CGHEeoI+7MbKBatFSHZHqvChegTDxvBh8uRM9
2n4VGqo0XrWkqk5tQi+jUSbrdY2SuTa0B8IA7occnVWVltqdIZkdB6IjxVLDLh070VOcZA1Kbrgn
1y8LSvwbBW6qb6eDHIgWWcGrGe8oE+Socg1RgujvFruCnp7MNonumzxwVvD78sNQk4tsNG4Vprqb
3tvVkN4zYBq2k0LxMSuX8bs7JCdLF8MpmslY6SwvgMif5vANaqzbOMbIgG9BT9sdcugZVaE7zS/K
JmKFvJP5ptSi+cXMiqMG4+W+0KV8Kb4TSTm/2G2SH6a+XIzO3q6hfXmOo0A9uqRQSs9onhtFZGqL
Z4IZuZVu3WpRQ9ISX9xWWJfrPUrXkV5j5WG/Co2xW8IdlCXPXjN7IW7971cGlOd37rFIcpf3Nwan
LiKfe0JoyXpN7hwj2RT8XzCTsG0wMx+WoBMPYVpaxqNelBka8TsUYJC68Y7ugiEKnoekdMHJ+t7O
yvjBg+jzzWSM9Q1C6Pk01W1I/JEhiQZne04Q5DD03+PJfht67BNzWV7c0bRuq5b3SWX60waQbXfT
jgB83Dr5Sfg7Qno7Ro6IuymsYgf3ODwyOuqueJyL/l75k/utSJdYKBCVB23S2jdnegEfXIBzsrdW
TRZ6j1EOdWXjf+uTYwP09zv73ymc5Nzt8YRmb47Lon153LWocvO6m9fDxLFq+VX77CJoWZvSBGdJ
Omst5/SlVOI7B0n+vURLl9fZI/mt8s43MvclSUMrFsXL1I/9veUT7qhearsxngCQVRdEm89xL6Nn
R8w42zrtx/Wr3BYkF7UkjRZRhYq11Hg1mL3ec5EB0uhGjzAfokfV2Sgpk9k+5axAN3Vqyr1V9t1m
Zri0r01DPQeRa5O9UVvs2yr1DHIOQqenf0zjVADDStvHnpCHG2IiH2Q74GxcboyJ+cFU+SauIKLH
cZAwdi6D8TiWJjuq5UtsKumjKGtAGfr3oJDDrvEnbz+6wRsiv4x+zeWzaJJQqtmI1oF9fLSfvNBk
Cmtjz8XHxyDvevTjzkYikcKeic+knDKiNzF1WqtRkrMcD/hSNb/eOrC+8QnE6hL7jSLfh3tDQiFT
ZTmxoVoaKpJg7+SE7HUq6gTjyUuwOPKLwSF214rNkz5YBrIyJjZe480bV3PNo2tw7Q2aAI6LKryT
xXwtq5NbQpyqUwzC42TXuJ7BOAW7UQFjzwgkYkXb3psCTaM12d6pwVh/Klybd6k3J5frxa4iYgFO
wEijH+nz7fXGYW9gZIG+A5UQn+2g2fqxYR7sKHqfRXdyE9Jr0uaz0oYfbgRuP2fOxn/gBLfm0OeJ
DOmog03lTVthI3M2dBhyTmmkpG4VR1PNe0kbsXJsHIhDsLNIjRVZ9pBlEYpUbCDxLD41JXcSPI5D
cNS2bG1+C+q+YWq3lYfBAJjWaojSc5u0rx2K68iUP9PhbHMdp4GB22N/A634oGsq3zD+uqecx/eH
JMXLyH7BHQPvnxpSK+yz33evpuruZkwTjEMuOSwSrrpsliLQN+SnOF726pvR3p6dH6aZ7GwYGJN5
hPzIsaZ9IZO7RQ75c+4mlKFWtdYIm2DnCeNBIpab9K5eswpFDBljgfL6megW1RxphtKjUc0vvXLv
GneYwdrUB5D6ByIKMIxhfKNlQtd5mHDYr9LJCAlc3LVC26rB3IGa3jg5K0dPfdJx3tcW+1XlSbKT
apsJZEFIYtlSsjr8t+qSWlnPTkM3gH2rn7OMWCs3dR5SW4c42JKVagwRVYHDvDYq9E0r/B++gV1E
CETKc97dl0H04CqSg7RJGbs2pTLR9GIZMnpwCvBoVP4lT8mBmGfylkrCgLu2PBaWi2Ol1C5imt7F
7IZONYNckjD6U8v4Xtb6LaMSYKT+roRD4M30nkE7/0xGgQZ1MA8w/Yw11yS8whpBOBKXU6i0BkCy
npLO41XrprbudAmirnVIxhoIK83NN7P3b1WL8Icw3mKbFRCGzCxtt03S3I6EdIb6ZEjEgMOwirQB
xW9l3joafURJ/GTYDiZiRZcjwfY+tQ7oXuVbXxpkGuga4EuyObjNBmyMbUCHbDgEQLvu1jZBe2RE
fuyzCAoug38dMnATYz3S+q3yWFq4842XDP1xwmm7ni1odmN1Ng3x3M1zh4nQOTIJ/AItg0SWmOm+
+PTT9MtqCdIbYaqueiqLlTfIMCt4je2hfXEH63tj1AgMiBB0HuyL0FhGxwEQ6BFLwqQHciVM+MV+
DdlJA2NQp90p8MMqa+uNPvb5DdGv4Wy676g44sVODM7axUbW9AOXXcPdGOnorxrVnbFz5ptUn94c
Q9N23jhe4LNYG8Hmc2U046mvuC6RcnYoTCF3EeFrVqzPh7bpf5RcANNaiftOycuQouPvReJtyqZG
yTmScH291y501jjoD0PLpWeS9o5MsBp+ILgq4dHmMmfEZIfv3bc1pCDJKSgJpm90MqIDQdhjpTMz
9tNyMxSxPIHHkagM2njAKswI/vogiJTmRDbH2QLusWN305wMDTfhWOvNRg+y5mTS39QrOLwmdrf+
xlt+YGOr+hchEiuAw6cUX+EkGYxXtr++/u5JMZWh5aU/WA2IUwqs5+TSuwPdbPsNuTQmxxWRSwCT
25PTkADUFIvsQ04k1wn/tsqyPWgPbdtGxccQ1+XWi7NmVQx9deqXJyFLWS4E+MvYomhQPhxP7Svi
TBOW7ajbx0MBfZQl0PIXaALJAXGRN7uttvGDfq9qZCPjGBHE5pktkY7csBcMvdYMCGOCEUYkx0F2
DrSBBrPdmgBTUgolpmjhaK9Si8awXb66PkQLfhall25nCTseGtFpLpLy5E/zd+gz8crqEZYxiKpx
cLoNWvK5IyBzeZabtq3w1s9E0wGMPMwRn3m49ofU58Kf6Pmpi2V+ypZ7xpjsZifp9lnZY+qKqpCv
ouP1ppq9Dk6t8VLmccFx4gC5Wv4wzQOOyuvd0Um3jOm8fbMkQaksA3S83AuSea8Jly4I6X9rG+Ne
1MPOk41d8Wo0r0ndTuGvL7UkyE+8pfq1bTkzSgq6PB9JhCbS0/VGaY4g3/g1r+Li18N+Z/vEJ6Vy
M851XoadbbX0GhECwL7XjrLJPgwa0y3LDP9o9UPOOT7cWhns+MRrbxqx80H/skPTRzaeXNfAkvew
fSxtb/CK43EQ2d6gg9uaI9L0OSes3Nf9m5yJ1U0+1dkqDfQ6bLTa5ENORhS8CBnGyefsG9GJId/i
GZBE1JcH8nH00IkcmmsL1I0WzOsxg/Fus3vQGnrVPNN/wFYb18YSOaj04Kcyu3Dyk2mbwUAYx470
uMBI5nWL8+MIuZqYk+vdWdhVe+JDXB7d66Ok3viI3tVcHq+P9ss/cBoj3RLvh0pDkcqIAXh/fdxK
SoMPxfKvdRfeOYKT5a9fb67f/npPH8lfSQMgF9cvf/2cX7fXf1ppeEeLXpPrXw9e/1Z9/XWvd399
jUtjg1QfV8P/97tN11/++se/fhNH5a+OOXu/fqV//iLxWyT6TfZrZQ6Cmnv5hTPN2bfOxGU6BvBz
Ze1e7+ULdfefL6/3ro/99veQcuRh35fP18evN2Msybn95996ceuEhJ1drg8ReT9vZVF9gLaiVfYj
3C2BZy+kq/74z82c0khXM7GYkHO4y5neH+0AWpyPQ7kyqMWTBmNwAOMeEE5zHnTNvkFD6RIS5xAs
1qXFbiqMaFNPHtGcyy5wSpUNaL37AoqCRSg2nLUo3B9ciBDGczhDkUkOSO1n4G69ddcpow3BLk43
pN+tQfLmuKgYzsg2MHZ2DTVoRGBlZuMnYCwdTF3B+hSgBJHtWs+2V+gfPq3LJWHUQZ/9WHjfqNiS
jeQgB087e1hfrBSdK2ePm+Wf7dTdSse8R7CC7HMSxNYm0WvFxH6lubMW6rP3PfDuHEMPq6n5iKY4
P0aq6beAsun+o+45T2npetxs6eBCPavEIZGzu4N2+Vh2iIvKudnTWt3NygpFMJBxgfsJZ765s4zu
nMscdA7+pXWA2s9yI6w35KVYI0tgURETNGDEGDzsfthyP8TjODT3wo7MVW1Z1E/xnVVNd2ZafXU2
vKgCkxbXz89hMAjy62g8fKvDSgxGbW7oKlK2CBMKCxo7hkXMWJiISSok0uWkNmwNMtbPhVV/m/oL
Hu6HKGvGnYx9IOmE4NwR1/AxEJa+zfzmZx33T1rXkKOnj/ValASlpsl7kYZaIckF8xdZYm9vTIJw
t0XT77yqDE6xRJsgqI2McsS1ZX66hI7tk+E5Qb71EIPIXtUCx/DCLDIUKXcVaiRLPwdBV2+zIMVs
1ldio8MZ3vRCGFyeb9P6Z2XHxLHQAoeGE0N/d6p8PQuIXYM+eLsgljhhsDnlKq7WBog2s5UZYy0j
u9U0Ge/baP5E45jdejjFjzYO+WLAlaScYby3EJ4BV3nV8rrFRUwEe5/2VDt2U93kot47g60fVCb2
jJ5eNH6Fk8PoA5sKsR3knUzb2c7tsPLSaN+a9Tvd7QACzqx2sWcOF+Gu9J6Sr9RYy9d9F6/LyZOb
gfUmgvSGjWKxADIrendGYMVWMh3gD8QTDY3aCdZEK1I12lM03KNjCqhMqA2QGpxc6T4PJsz8TK2U
liNx0TdpX2iHGUH9WkwlQB23rM9YrbgSFTV1MDHpVoS+e2aSiCoq+YZ/jiv8bEF2TKU8d8yHWnLt
V3bhy3XtxKjTR/9tMur86H9kVS8vTbRLI0LuZ8cEdceEoZ00sc/06lY3UH8MjsHRnyTTmoyzInSd
FsgU0c6bJLO/jzlpA60NWzkR1Ps9C1zaChB94tWaEJcCl3A2aUXjlFQUqTIuIew3eahpecv0Q9Qb
D58eYyxA/FXd3zlmLrdLknXAnOvQ9+3K1tuRd03ub1UJfhD24m1ushbOdJhqMeZhcBIczLn+vmjA
ak1SjPDs0Ncx0c/nr5JVslaJb1pVf/XjZB97Yh6X8D6XiFXkWhiLwtghGRndYbGCimFuNSP5kYgo
nEoHsEInqk0iAu/mSq/LLdGsmvLKSmEnzdzvjM4JWCCCbS6dBLzbclJEylbzLu0E2FVz/ClEpe45
ARHCDJgZZQMoSRCWHSoM9mtJ9vYB8CZxy75xKujdY7eB4TpQgFm6+WKTnAIyILAOmI0h881asCdJ
8tT0QM/iIE0eu8n6GTk3VX3bpuxxtMGxlklwejdXRnADlHFdzA61mSz4aC+fotFqYO5MxsWLJU1c
MBTsKL2daylkmRTKN81yg4k2sZ2jVy4wTZI0d1ojz1em2q8bk7Oxs4Iv4DAUWCwhtnoAqY1+k1nq
zmuSM3F76uwIUhpYB3qsABkOYiR1xqw/tQjnTzSUE85D9hdFHBEmY5WC4Ton1VJNmjtHxocAggZA
xgI9glZiTIzHbQkjwlWlFkrRHMicJvC8fLcNqPi1VUNL8hNz89IOpRtip2MtPBEOnvhJGFcL2cLk
tNYUUZ5uMO5tnbTbck4OXjTwvYq1FgXtluuKueVRECSi3tY9qSD+Emihe11+ElZG7GIioH3E7Y+x
GH6YOqGceGJXpS7oYydCBnESflbk0CkXXkemXGahPqniWn1G5bwbqGDvDCIvUnqZVY90c2X2hL9w
DXoTZmyH5K+8zl16k0QsNeKxSHfscjTebhg9ir7ax0y9QpRXUj21EacsTk8SZez4G8NGZ01xi3bH
JF50moEsuYE8ldkuIHyz7MzFDs4nM+B7WhyPl4anTyUXytQxrDHWrnBDpesiM7ywTZ8ZeWM+CsK+
tC7B7Acoa72ckbrI1149ggmuWiqGwN+OxdJj+bk6kpa49rR+ukvaU4f5Gue7f8moAONck/fSqn+I
LOBNZw/ZzZS1b1mTip1i+BJW/RA6TM221MlENFYI46SCxNxkxg0wofJUwVwd4QKfPJbp25xDe0Ni
+hyOcsDnNwEsZFK/dlA/XwDcbFsL3MYco59LG3CNiyUGOKGxVd+wdBQPAwukTUogy9orS/CAjLzC
ykbA5nfheUIjDvAx+zkaMQAvg2RfPhMseHLrgyR1c2ePkjOWWdfekIR8d94IpqOVB+Yy6uAsWQqt
9PAk19EB4+qMKmr60JzAOjVdGpynAOBNjqYSNZbJsm0ioB2IfXfLKEA/Z3mzNgjSuGtsethImRcj
qCYf632V3t0TQkCyFuvVfeyANeC01aEUuZO5x7kl76zoYZBW8VjnxC+nsXmHRqF8RBtPJjLm5o3R
f5N9VD85adrfTIn4xseteer8nrLeSSB/RoRmp8Wb6IfmpNca7PzlS5Rx0E9dMztaQzUdkpwZQ+PF
4TiNxpcm8pMP0lgG02ZoHO+tUPg3EQEyJfHoVVU1XXDwS+wNZJRrjJKcKE33ptmMG9gm88XiaV45
qV0c8pISUvGNdoGWh6pJvjvTcMhTf7ivAX7csjO97Yj9fBLgwRlBGcjR8i8oCgO0YRmHdoFtv7vg
QIWJOX4wkGhvMjhpbNSQViZlQDQEkRgwniAAiOmgG23Pp0vHvqGRW5CyzMLfG+8KRD3stig7VQNd
LRhGliQ0L2Ucif01syyiTHF44x5184fw+62jBlzJOZxLW0Q0uFH33bSqW9cEEugYjAsjPPAHoqwP
JC6Fk8CslKk51CCc3Q2ps7OV5R5Y2u6HbnyAFtvdqlRiSzWNIawrBQ6z4OoaEV2Fdi/ZkQMQgKuk
hh3LN2kmExWSYLdnEB5bmx9ep1uHILVuJmtJApgsAAe93OmqH445+6aV1RKy0Pv2uZjiT6x1DEQ9
b9wCzXXJTRh3OdCzQ5eIMiTVuUfi7/bE6oCSjiKVM0+Y7L1VhR4kiBV7lJQxuLkxhOHcC7hSKx3K
H9nWqR2aJRMRjRUYQhO1dYVtrfWx7fczgSIHpDyHOcnNDUG6yKo4KUZ4Lxajqo1T6fVBZg4p3pF6
SRrDOVk4FlaFuWThTEUQlr7MyZIV9aORF9vWZaRcoW7Z1W4BoDkKIO+id7wEjMcXmBkkahZvht4e
OJHg283uwOBjSB5g+ax0ZNWtE3waNiDygVxgp7WIxFWCom8EH27SZa9rG95E7HMZ1QsiRE0bqkKm
qbDogegs/edpXkAJqUlMy+SI7yYj1oPtB9/jMRpupLM1kjS5iyfMInlPMhyL9oLiwmOiUtPd0dHK
vY5Y25qgQI+KHA6Txo+AdQS5joSzKXaIMFGcu9MhygAVN62nSLgNCKXL7tK08W5l464Rn0zPekuu
k9RejYmtjCfvU9VEoWZNPxS14rkENLkM185+GsHeQY6z44WJ9tJ+jSpAHpqItO/u+DPySvfVSH/U
qoi2gTOps+0P/kGWM3u4OOKiDu0wKXHAGHb5XJRTexN1mfEwjE91ZmKAQJZwk6TQEouOk4RR/i5D
cHJfJET8erlwb4b81vHp5WIf1TTeeyj2RdvdR1QwXyqX3q1GWpUxOIhXXQvVqK/x/q0ZLwwOaR5e
MeMmWm5aO+4I6yOYirIxuA30e9ZeZ5gf+1hW2V5Cfq+TLj2zolAP0p7X2qwt4LGU9ZNjv0FM9u+v
N4zt9lAuP+vKYnkHIBcRKoGQ1O6YgWL1NEfpdMP1YHiwB/2YmMn3kTExU+uBDQ1ZnSRqBi10qqig
L9DkBjUQT6tV3ldWhr/e60dGwz079jm31lWO9tmvR39hD9RM5SJJ6NKmd8IA7eLWLi219Vy9DHvy
C89W0m67zJ9PJYPirTB1wip1Zp66NrDOcVg3N06yM1Q0wjjmfcuSsiGb8Yx3dDoCUiN0rx4/RUMg
ozXN9rapy+no0LBWQLA3Q9Jgqy1i4vYSMw5BYq5gumZ5XD+WpAA3qKUwLZ1Vjv/DKpNQOnW0MoVD
/R4lIIK1KD4LvyRvzhLkCDbLBFQRrla/sXznFLFJOZzI+d6QD65I7AX2x34kDc086gkvTeU6USyD
DOcDLap2cJLa302GOKI3kKfrjSbHYF1PPDEwiov7glgCmEPG08An/pgObY+LQB+OSvjfyij+1DBv
3gEmQSpJRDdiqmqlImukZCyJUMiKYkP+Xb+ppMnmmFSpQ9HF01oWDYEyc9/snRrqVuQyuVNqYvaa
LDt+WI+OE3Zp1O66keqwEf7b3III6GGVEXYkT5MnapYi5RvG2I63RCC2iWZ8KFun/lX5eOzoiXep
4ROv7hb35tzL2wKG2SWKKmDqsEJUYTlhySm0K8eM2DsXDg5MoFdFvAWHZN5uwQQlgMJTSqF0JPWB
icTFid8D86vxBrgM1Yiuz82/VRr+0Mme0m/M1et1xFtstN0DjbXL6Y3hb0ysBsmAJcOkGJ8K4Io3
AFJmpxC73u1cyKpRcMACw3Rgl3WD2OOxfyrJX9xEgWmtR4/sMqfz3VBkXU9gMimUXQDwE6BF4X36
PZE8SRPBjnDUk+0W9qHv+pWvt4gVFgxeUZJmW3fdwsZFJ9AjeENq0xECpbkx69r5p2ujwq1YjtM9
1hXXONXsKq1bX/nxS9AO1Jc6jAB+Y1jwkKzTFWVdhigHER5zrZkcq5LkKkv2JaR/472Jtq1hUulr
rP06gkPymjyiKKj2ta0qhAZkXdXoTHd5NO+Hsq43U43oPas3I/y5wIeeblf216gf8I+QnKqvnEhY
5IEbwzFqtH2l59ssZ3Blwqgs3Ki/kYX2bSqmH7HJLKToYdeUs5pW9Wwbh0pTl3nwgptay+TZqDp/
g5qqYKHJErWBelMCX99yvV8+uuU6mwoZWtNbWpmUKd6x6QrOe7vZSLdpuNR7MfSqFBIH5ZRQ47Ya
S2CCFg55NzKRXDKSoZZAX1ePJKiyzS2q1AeUn7w1vcaklhk/TSp6nhrGLSqg21zOCipgtssi5Z1i
wNNGi3ac0KaNVzL8AqHa7bVAmKuugk0YySUAimvUsXJgBY5S3/kWyfAYpcftyJItz6p31mTuTsUW
Yy0Naw1V0DY2E2slXP1UOGQDTiQ1PTQMlwCikkmPe+GkDV1Cm9c9NBl4uB6u4TYHr/fYle+eaeeQ
edj3dYUyNk1SOxA96es1BmtDJ6y9wt671gSuBYdROJ7blDF6Q+VYeK+JFviMF4lOaPSEGIh6zhA7
TF7IaXjixZrwNUh6E72xLkNpHLHf5Su2qiO1LCJxafrMejAlrpOktc5AduZDMRZ3gddV57KEpyNb
KW89j5rT7aYzh/C8mqIsuOSCOQhs5Y1IG2c1td0TFZTkzWohlknag0XMxMbGy8/yMyYiWAa7WS+Q
U5Ar01TehvBLSQzg/GSwKVsmUt7RMPNiYy+ZG6bPEzfWivbfJWCii4ynJpu7Iyfc0VZuhulmfO9H
kyC5tNLWrcV4L9naUZBszYbyLa6MjyTvcrYc5c+Wpn031ZDkteqzzNrkjMTODz0n/Tk6y6gLENY+
xXLv+GO1MXERhrYffZhmeYnS69yWQbYy2ZO1Cebfnnd1AFD0YIDOXk//h73zWo6bybrsq0zMPTqQ
8Bkx/1yU92TRirpByMIDCZNwT/8v8OuJ6dZEd7/A3FSoKIoqFlCZec7Ze23J/KWocriDnYJV46Yc
ZLEWriH/OKyzxS/mvBRZBceXcE7Zt3uaRYGR0lhQ49XuvtLDAKyTZO/+cJy6xj9lohNr4aZcnaBm
Kkp+8hYD/0nO9rfGT80drGOYVsrrEPITopb0+gizWlOgs5RwjgRc/lv4TXU3HXdCDRGAN1Jpuic8
qGA/H1f0HGFNU20oiW0kspeNtVgQxMNHlzfJOeqmuyrJI21qdclxFqxTr2JCOFMPBy0yLPCuvMec
BxLiWkgYcn6EghaNk3VcZSBRlT+Qo+OO+Qqgm31yA+N7jpHYxNO6o+XIftBPwXm0+fWcMfDwj0B1
K8h020SMHB/kFB/IwC0Wg220cWoQ8T7Dliz2TlERVKthEtWR7NqcTFEX07rzYU5GQPIlcaIiGZKj
79wqmiwksGWjYdwj4cKUAI26NqyWD3LevNt+OJww9lV7NQOhrRg/jQ75SI5dK1QkinXf6eT58wHs
1U9Fb43eX1LvaF4kR2Yyj2GgnEvc2N85U5o/8sa5u6EZ3+KpDnYgRa9+P6Tsr73Y0hLqd0DV+Dxr
hwvchjm1pneg35K8p7IiylSPq5wmWKqW8VgXvUC+Hjgw5enJKokGztr8FMGvOxKjc7dLAD5WzaI1
ZzXjvTVbRhz1qxydx4+O45pugnc49RzOBwIbxszJ1oUkThdU12vql4dCt8TvttmLoiW0Z1yGwqO3
61uhmxcOVdNxNAukBNDPiFunvdLZx142AHVHIOh+RpmmYpJKk8EhcZuG6RRgsK/DaRV3Fmxrc8ly
HkNqw9rFYN5mlAIzLgwRpacaoMGF2MTdImTflmMU3Nu4Imh0VOYO1udXH+HamtgFjOMj3gOsW3qd
V2QfWZV9HqfIXUlqsS6l/ZaBRaDRMIhdY1PTzJV5lbD4FXPCfRExi5kyA5obhS5hIQQrVJJSB385
1zh8uuVh7u1Sqa2tU/Mpb5VFhyYuw2thjgdzdOQp5yx97HNc5p5q0TtZ+S0mDPowRjteB3U5BP2p
8kv0NlN8k1gG4xT/hBWJfF8wp2QENbbHWTmUysY1JWV17Zqw8mwxq2NXdsOOGDGxCcgmxQ7S09L0
vuR8Vh4LMTUcFeJjiYLqoVDGrZia/kgQaXuTUQT6QMX5deBzGdujOLkFmD9iXwEhoIWLs1vcOXrd
5i6pNKHi8vQd0TtlzmpVmilhICz8ATEjHPXJX6w6yzqyd9ySiaOiWavHKkofbIum7+z0sKDT/szF
9LmFOhZypcyDyvSVrny9burGew49hhNxYz1XJWeUcEB81GdMhvpEfC9TVT4mPijzqnY+Ahota6xA
vCT8HduyLuw3sz90/a9Odc5LbZvdY5B2L2WLfop6GCarHeVvbh7/qjyv/1VV9Pdc2NykEcQH16AU
Tubp0huefWytMbsGlrOf5ag+2AZLNIgWQdFeFZ+0DfWZ6C7/RgYpqOaoKtZjrzeRqPOjwSg9TKyX
NpFPcTFzE5lU51NlgybscQii5LRvXcP+Eaad+9AvOdkxIILPiK+aft7DZBY5btlmfHRG8m/NwXRe
Z1Tjq3h4wycnlxoXrMaQP07KHg/tqH4XKqvXAZFhHkU/giJnGh8HKaJbY5oF44anMqTypXXjn136
nJsAMwP4EhCZlgma04jAulNau8e6bRJMAHjbZsW5v0FLmy6BvB0tZw7wFHXWYODjjbKvwhUPuJON
PbZN6PENIjeW+69gcIlMNqrumFTDkkrZZNvZyjwcVHF7cPA6PWfF/FtxfydBX744UtuHmjp6lfFZ
ns3efBhGlp/Uh+5pzuT+EtxYXYtmEbY4gWa0OofnolFMWQhKwtCY3UiJiRqG21VnFwhI5L3Lo+ph
8KrmlPXcdTiG2nPghea1d8r2ZrX50ayrZ9s1aD/jzDkGTcOBpnPXls+JS8jIfh0n+USzvzv1ATGz
WARWUxWFz2iE35whAEKY1dm5huR5t1o+8JUtk41vg6qc6OZdZVrR/LMw6I6xVVyY0VJjqf5QSDHt
dNpZ92r8NAW7m1rn3mX0ovamTQJFWTM2ra6sbb7sIkZO69aLEpR3aJsGBlhuPlf0BXX3FBmVeZfx
qfX2mK3yHxntqbU3mu1j2z9WXZ5fcswFFJ6Z+IIwEQO3aBCYM2Z4p17sh2uonODDTruK6Q+boqD9
w+nQZ7oEe5Wepf5Wkku3ZZbpnArRfqUiMM9Ww55A8vkW7OTNH6bq3KEn56qwOGV5Hz8OIyy6gLOe
I2I6JMtDwIAK5Ia+p+zfj9gg7sKGkA8j5OSkLSqiVCTnHjr7uqvxG7XuADQ0GrhreYg66m1jHoZD
rvW+7zNxrKWbPoUI4zyz3vqsi2R/9yBYaWAcJi8aaMkUp8HAFqikHb01CW3XqACNzlUvcTDWNKCd
rPyag3NkqOon96LUFoBZR78x20amd6ez5znZg1UguCu6kwp89VbopXqGLtD0B5LiyISKzNeQgebv
yq7ZAn330dN0+vrW5KeGgX1jKnTPBg5DQRdO2wlK1KbSxQ3kXsL5iRKdgHrzatLrX0WZfu4QKPO+
kqAR17R36gC/2DA1O0dMNhWtWJM4uOuLXl0VAQ+bAlUmcyjJIpwCuWwK7xuxwdU+9vpny4geGoKB
33RWjntSZyjaQv6bxsnv7hQEZ+b0FZPgIaVPkoeHMgf80ztTfx9wlwz4Dr54DY3PLEvuArchgxLL
W/GZxOURHnH/7bzW8n5qfApeuM0qelOfD6kr/JsTOeYVGtMm2hjMg77kTt2cPTDra5GV5peu6TUi
tTg42wPyPt3G/j43+uJKiDTabdfVrzE3N83e7A0xVbqnfUhJNUf+UbWRWMlBqu8TI6IpEeYlTkEf
KKJ5T5ZNfFVXeeg7idE924X9g4S27LWlhcNpwK3Xvh80aCqG8Qnob3Um9uPXSDvoKQmXAJQSoYL8
7FeVaExLFdvMbmhfeU1bXILpt+8b40jyG8pOoDJiDeFO7+tucR0kqU3YLCH3CcEZp5Y4kNeaOPO/
nnqK/Q5a3ASet9cHk8hyYOdjcZyWnDIMRV8nbSevuXqSSlZvvRVGT4M9oLlI07scYuMB8MFexeEL
XZ3p0toyJkZK+vesDOM38TmL0KM69WG5lvg+X+J8vnTS9WmnZNNLVtFpw2R2bnJEGJQ59hm8OSWG
bOovc8gIC3OBOuHN7PdNQ89BomYDLKDlLtOU0C4i7HKRl89uM+7bYgjwl+QkZUz4IMl006sJqfm2
Byy4Y7qLotJtq5tVFb9pNQT7GoTyXlqDfeREzkeCw8ZqLBjwh5PBMsNJd21247zTklqWs/V09Tjw
r1U19JzvDHGQwuke+pmSV2WR9UZ2+FunA/3EC/s9NY3czMhDtiTNDGDpGf83XRZekH13W6aaDFjD
xnvIUBQH2brrdXjuIw68Rat/czlpEEYtuS2JtndlkS1bsbAfqXSdR8pKjeXHPReGO267scq2zvvk
knhCllHzwvktWplGHu9dxfloKKmxh7mbby6MW3rl/ru2Tf2KxJYS1y+mO6MdcZvDilAkP71i4XCZ
QE5fG68T188HoxcMe/BA0r/ga4zJDk0t+z25MWeuVX5CrSeeQveUaJ3dVRva57AYWdMEZY3n2y+z
eCbyw3oXP/JW34JRRm+xYUUPEEXeR0+qTe76Ff62eHj4xPUWwXzBARvKE8ib1FnN9A125cQRdcb4
ypi4NHdt3bSfRIOzmc3syjY5WaCXrUft5N9SifaSPFH7HZ1UjMjuueupSFJPQBO1++Yat+WD7/TG
AwUDIqAYrGw1p81ZRMapVVx5oCnv3iz0wel9EIp+/0FlIY4Yx+wzLbvoMI6i2MkRz0yTzwTGogOl
cZI5ZABZKGu3VhTWIEytELdZ8xbTFV8z7P6WO1b8OutHr4shL4fEaM2t/tWr7mlSItiMTjVcIVWc
+sp2gcdFr5GszbMuOmDikzFv2CeC/WA5/V+Gy/+P1P8PRFOogB4G4H9NNL39Gv7HR9Vk/4g0/fs/
+j9QffG3wBVW4AeY/+G9+3As/g419eXf6Ptj4XUkqc3mJ+/071BTx/2bCZTHNQGXCuh2i920/Yuq
75h/c6S0XSmgoTFs5gf+7//1T0SS9o/n/xR8/oefmYRmDye8awOmdFnq/oTqi96re9OMCDsyo/wB
YkP3RJdxlWqS2unAbWYRzqCJnbWOwt+ul5FVnCOW+Yc37fEvZMM/vYqFC/DXl48//+t/govgVQAr
gEoa8F7Q0/9nbgBHD2OuMaEfS8JBdoqPZC+LKw0ScXNnG4Ni0bDaMItnsaWDY2wjt/s9jSrex+5M
lWwhr//3L8n6w2S8vCTHdEhMM30givafsehYFixfBWZ5hHuCNjAnPZVkNAEkyf9ZdKn5SNfnUFdt
h0Em+k42AucSF0Em/CeA+8ZTiMRlq8tB722XgMksZ6DpQ/1a46Rw175pDHtl17hzKirKQNFfB5V2
gNF9YK8LT0Y0vv773+jTFf/Hm4xllLsN27oPefKPN7k2zHasWrTFppxNROaj2AYxRzeUf2tbAfq2
QpBrbYYKQQACzwq9olonm0ZdgrF8SSooMaVFV8Uy5X8w9P/JZVjebZcb3YYbsXxIlvv9H5FoXdul
zRD42FI4O4eDt6HRnB8r05v2ETEKK6wc1Xqy6w9X6o7MHqtYWUN9zD1EbXaYzQ8Fxw1z+o+v6/+5
MT3yK0xeFVxh/PZ/kjRSk54Meit5WJT3He1Adsd47WJ/WilRXtAsLK0hyFCiTPdWNLypgv5pVdY0
2N1ZXAtCa/79ZfyTKeSwhJg2OCFgyFxL60/GxtSiFYnCsT+QRTPs3DQkabPBUmQFxlXmCU708JpZ
dnSvhzx9KYW3nfANrWfHS3aceFDnhmq8lU7lryoi7zZk8zgnkpOPZTWb782igenD5jrb+JrzwICw
nsHvm0Zx8RiWOuTjYRVrrmJ8SAPXPY5GRdIqjPVNMqKBDFAp9OH0vdKErwYA/nZtVV2c1ucQr9oj
4WMfcddZNMvtfJWn4kDO1Y2RG4lAVTPdmnITTNNv+unW1ow9vRl9hXATJ/uq0yNFpUSyM8t5UUzg
nEKS9fLv314LftCfi5HvEpXIcg3JRprWn3iDspB4NYpOHyzchZ/SDztCq1dKebZSuzmmNY25jOL/
cQzHG5JONANZWT6mpOUhmqLY6oxsUwpjcdw1v5qCAf9U8wZN+ucQM/UZmeOfs6UhEIf+D7WIp5Jk
kry/1oZViRxUmlIfDOEZSARynY9Wu6+YtZ3Y2h+zwHqhN9wf44XgYTQ8fP4poyl26jz92EuyJuwY
uR6jxvjh8yGP5U2EQXUcKhFi+6jOfls+cRn1LccXd2g7lxEslEq4IQ/0xjUZP4XYc3gSLxxBlr5O
/MBQqqbtbBpbbp5503J8sxD8YuHimG+SVC+EYn5dtfUujqryqIimcpDHXrslxNVyv0/aKuGPiuhq
5bG5m0GIHNngNqanMV3aNeo8q8kOnyNkjy5MesmYpl28gFff1XlyFUm7JrIjuhfp+2QgQGFra1ex
IPS5bHpxg9lsGdN0g6WEGbQ2Nr2C4iisUl6GuCZQya1I5DZHf4XpnkNdk6XMGIFnDDQJziLQCFXi
pL2Q77ZOO6ZmRuyMkO7ULqeKPtCz/lb2/SsQ8OD0eY0gfjfrOrYFWLi229m2+eHGUpyimrAy8sTd
C30KVPbGDcMBpiEj9y/sqkdJbvvd7xA8Y6+5xIJyFaNbcjdTGdMLq282Kv+9wYDrWZd+yMocLE0S
ZwcJKbq46OBuNXL722Bwt1j0zRZj5gUoBTqUyKnv0kvSY2UzutOq+5p0hAu3oyg3kyTHRPvOWmbu
eJoWEyTxhfMmNaJiG/SOxX9CBK+zPLSTaR/CIb5lYMMWbgIK4UqwzAbjUzqU5clwRfIwmnG0S4n6
4vRtgun0GgzvsT0/VmViYstViInT5FhP+huOrOkRLfT42HfFm8yy86w7mzSq0X5iyIELcXA4b/DM
dsyXch55k0UlHybsiDSf5Ykm0lFH0n/4fHAjmn4yWMxqy9dmWQZ//UXm8ntgpcTsuHwtThPG6wCw
9oVVzZfPbwapQtBcUDpbWSTBrgC6yMC4je7N8pDjsKfRXMXMq3k61SymNFvHq9N4yPL5kkP/MVoP
4tTaxbA2aSXuLcQ0z4ib/H2UOSYMDQcQ6vJgpgBg8mm+mct3xIGpDzmNFfRCV8INvMfPh46s1NPk
TD8+nxVNMN/49TjxC9bmtle4FOOc2Bcexj78CGafTI0l7r7V3RiujNQUK79zthTLxWkeaWDLfMCz
OMruOSpBCLTdfAH2ekq1Ld8ESEYsdO3wbBNrIaroTZWFf/h0rWmGbis40UBmNRggU7bGTbeUy3om
rhiYifoIsKcm3s8hybBGMsMqTEJEndx9EyjLgeAU/lE4+Nl17fib2hp/5JWWj5jySKr+GtD0esR1
GurpDXnC2fHwKMRxc/BohZakvB0mOn4M81GdaxxeeZgyiiEq3iAixV008i5h3dsWhcGWxKcLjne5
SvxmUSXlYhv5MwrPACGyrIdpnxfZvIsGc1z1KS04UyW/LZa2nVTMbVwKctQGrBOMgL212H+K9IlC
2RQNk4Q4L752tiZfmsX3UKQlEFqMqygX4g2OO0gsfbE30cdhGLZe085j9jO19aMXl/fEHEDIGt52
iJhNj4v7DaNLCdGT8SwxIljCANx/vpu5MyOgw1WKBMk+qgz5apK+u1p3j2bnbdJaQYtZ1qc5D+yX
iXu5ab8EpsGIs5C3wp6H8+KuXItgfPa9AdGHewaa4O7nnK9ydPe2mHDUCcPpV6dFauskNG2tgVJ5
YJHwcJk4s5TrVg0F7OL5EAdBfRB2vO75AR9RPj97SHQvSKXltsRBvc9IODHHQSIWT4xTXYN4aOlB
Yf05c/0egyiBoRb5jyRukpJohv62Zgq1DmL/4JI7sELUs9Ychcn7hK3LnJnuZGBPu7lAT4Mfn4ig
uETFg+LGNMqG86reMrstaFfgt0x7GyclqYqXERc+4YrDxYm2tijnm0D9WVap8T6DpGREthmseDoE
SZ4d7ETdZh1gLUbDg7IdIZNjxKd5INYw69+R93NcGcMXE4xTlJnucxZNzOFj4mI7YbxFOgpQLFZ7
qWFoT240Pwb1vXFTcQrbJNr5aiSsStM1MbuAjZW+bjASKBBPzH+R1+YPZEd6CKvna5KmmEri4cjc
0qVFW3ACj9hZJ1XJC5hMeSmM3di5zclDqnmaW1hadFfT6gdZZBmmYJUebK2IsrTwd8hfzDdRrYT2
Fw41eF/d5ley6AFqk4GQ0ckHoW3/5E4zA3CvcLcRuYEH7dvjk+fMAhmaw3YcdKR4Wpm/p6fVPKIt
RgFSes63qg3UR+LHbz1ZNSe7xfw4OCrZ6LyA3yZsG11R1Jx0eGq8Ru0D5m2kWvcZgwrvRm6qrxIk
9W0FXLQtDkAKH0VaVHtDbpRSFR1xNa26hQzopylUaj9sSHHixRtd1N6VltcqUsbJrJOEBkdlrjud
MJoqsv0cFWIXy5e+r1HRIb062h26Lk7LzMSS9KOOJ+O6RG04/GaTATzaSeMW0UdSnMcYHr5Mdbir
OKPWurcP0q4f8qZvDiNQkdZQx6pn7NGPvxq3rK5DFSwCuea3mgNoEhEbOMmTODLqIymJxo4I4eaQ
V7Z9YlMrtw4Xby0FWF8vQtYRZ76/aVuWQh2O71aPWS6e+BWyBPVaZlTG0Uq5m5af0REWti5LUe+5
g462Rr4KDoU0Oyvq8GIyDhgyzMARfiXWFUZqzGCKst6GoTIuOdMUaB1uttGtv+U2AcGLhyr1foEA
mR9pLFqJ7yOclcG+oW+WO1Nw0jgjYLMG6T6hV7FaZGqt7PMXjWPHqANGnU19xt7jV7H90gBFDnA7
FKOu3sN5ULsukS800TCxz+FGDyBieTkQBmVJQrQXpK96Mn83bgSSEof9U6MLXtxkf+t7Y17PAiWE
ACu0jg2EY2m3RKYn/D+5y0cXwSNbU5fevNbnbGoX6cGIx2zz+VTrfryws/AW9+SqduxRvZuNz7oo
jplBfF49eNegjIez8lxEAZMXXjmmolcFkvNFxIQeD2n/y/ZbzOzmNQBlsbYciZOnKEl3oi1/loSW
bc3eOhFawQeEryTD4J0DK0eROdvEqGFDY0K9/A0cK/6VVueml6BvCj9ef8KYGh2pjTYztS4BUZ89
H4NJElMmOY3FUyP8KdH77IaBuX/iFl8bCjIavUl0+fzT54Mf46IcTB9TRFThjaqJxj5LBlW11Tun
z29pE6QwdWeQryF/+52VbHpzuhluap/+QpMsfJIy5+rVxHBsAD7PK5/ya2K8koJzrfKHYE4+zDqd
iEy/CUq6u1M/jrnnPRqwBoYqVOQ4W+6hpoMDqWdST59f0y76uIi0kn2rbIOj9KI/gzL6VGXxOiCF
DfMlz0IEh5hf0bB/Po0O5DFjVY66clN7RbL1gFBtuWWYOnmWfcfVB6kBDc46nie8VnRbjjX93/Xo
ifFmDt0Fj0v9HPF/sG08+SKITqRAFQfH4eU0jagvgcxeRTj4F9EFx8AZ/I1jqmhnRrF4QttsPsWL
zKXlBYadxCY4mFRgVrSlNYXoTy8fH7A/lvKBppGcG7D+rl3pVvBOjAfRSvM04Yg+DXM1F6vP577C
COKTeboBArhKKZDOBFQHa6vIp3VLE43squjJ1kGzn+0xOKt4HE49BzscbfPp86HKA/gI//d5PE0x
nzcQBBbvM1vm5P1KRIsAXxw8vFmKkcU9V5gB/IXNxbm8RwyDur4gCJd/kZ79OGr2Y1vfrHCOduh8
vxgm7XCgPeWGc8NxxAtP6lvAdCwqLpbOv5AQ8j1szOhsIMY0JUl+RYE/roIsO0/R3RzSm5yTW9NQ
jnTWCye8Qyr0bUx4qZNw+NmFYIm080vHLhC4gwEqavxa53G2rq303SD3UsymjWYtefFKSq/GJrt6
3vUMLuGwoEJvCvnDnZ1v6MAPQ9C/GiVqzn7+IKIP1A7usnX0Eiss7n2XVnv02VSAxG6uhnbCZDoc
Uqe7czgBFcAOkzvDfqp2rWnVG4UfWJCWnB8xxz5mpRfuO9LITQufiyhBBoUDIlHMqhfDmYDdtZu2
7k9ma36r9BPnfKINa+LH5pFTjWh8cUzt0Fq7BBX2jpMBBmTqky8jy5q5cGJCszED/YtwBqaObvZt
zGac137wbhFsfSwVEkJO6EGUe0dabQhUoHfQUzr5y3L5+UBem8c09CBS+atFr0lXtt3XOExEgKbB
cdy7l4xy1UEvsyriHoxSBWvyU3cDCXgIE6DhwnE6pJ7xZKA7R4Lb+9uxyr8Db+YQv7R3imBdZ8Eb
/i9jG3pBsqrbkTTCaZYkyUcKXHnWrNg610ReUpkW4nfIW62GsNyQlx5sDMFBoMvqbxkj+SVp0iyg
jddjsVs6yAul8icLxwPLEHMw25JMdVAvlYNfH+yi+j24o4OiBP2aGKX7Fnn2TdbusUo6SQfUE6xa
MYM2GduvTIK+gBDMCQOnBHZkiEJEDpgB6vbc1oqxor+cvsrma1JW6p1LcjXy8K2p+2SVNPU3b5Hc
5V6N+X9gNO/1ebhOYtzJLmsIRXt2dnyBLjO3aZj5dnxDxIAOxGpuHckwu7Yz3nqWnzKhasdGG2yV
YvsKQtVsmE02a2Sz8aHLjUXi+STnm1b4TlpfKcw0dAwbhNI682CPYazUyrP2PSGLqgqLS496mWLp
Fa+ueQGcoDbcwngoSqAsmrBCp+6aM2OnHKIQUBNhmAC+3e5rSeNoNQTtqbJGpPyNYP1yzQeoMP5j
TIO6NDyUREfG4+Y3ZQ41ckzfOQPhmOCWll9rzlL7jJwSc/auoD6SdeYKdx+IWKzyXrq7bOi7bf4y
0FSGyZEiSFHg/Ko6eSbVGdp2GFy4av06deknhab0t0FGSzmtEFjq2Ts7GZ/+oz9m9Q4eLFb3Zd8g
tfVVTq595KBwqbII2V7Lq8+d9B54Q/gKj29XkTlO3jDD7AgYPXanmkZ1U2Ethx0jhuwuDMm6NUYV
mroVyJmZifWAyrYNsYlyT6/sqH7oq/ZGuhmKGxSneDs50yYmpNY5rw9DW1vrsAyDFb2JoctIr61m
rLiwbE7EAbNvFswcQ39+DdxAnZbW9QxciD+2AjbCiinmKunU10BjeRrNl6qUOyNDFsAqFIiTKnLr
hPeB8EpgD/ADoFF+T2lGnPCUjOWqt9zg9Pm8JOkRA1989BIs8KjYq1OzPHw+/XxwBBCJ1b/861B5
//jdgy9bPMnxc4AHSaAQr3vvw89qpHBObnlbz3B2cOOzQ18XoGWWb6AzBbEPp0iNT6thYrvpYr8+
fT706SR208+YGpz55chh7RLmOjnmRsHR6wFZd73TSY/YVl3ABAQnksqwh6vi24QlbWXYbcBtD1pl
th7aQmoqTSPY+lljrIQXD7soSuenEKoACkVCOsUQ3f19A2TnOfH718YM7P1fpBHXLU4jZPGxaazz
JOaNvVdy8J91w1gFgsO7ORbViwyn6oUkHMLikfP2w9GovOw02MGEIjWpN65vtJsMfFAk8fLVpNcg
VsVd1BmKC6fpZExQb5zQoKPdFZAoRqM4kWy9ornqPOMfwUqQnYiu/MnF9lmyDffoDFia0Xl3m0RN
X6yhk7chnu19Lj1FoQi1eWY3btqKCnByNn3FQD/O6azoRe3lpu01qCrIPbokZFTNG8Ms0Q5WCQ0i
aHprs0X3PGdfvKJoziE+PKJWEe63zMvwmJY3W1TGm5LBsPM5IxxzhuF31CD4WNy5+zFmMXq4bo8O
wXn2/RiLmBmWhzCOy7eqDM+o241vOqR7h3G9v43gG29s0RRK5F0pDuPfIkWPRydraHEw26L47oWJ
/4tMkk3fEazAGvOQh3Z/KaMUFKY5HWqn9b4XiwLe6bC6+yaN9FzHT3JkoEMiMLrHTvibKmqzo2UM
BGoUznwgEWHez/DnNihkbPYWgmkkjclKDSl6TJykiWxPLSgAIqa1d4tqeCA0E8TG8LRx8Rsj2kyt
dDYU+79xKxwoKL2jt4haI798yEQvXmi2oR822OILOZ1dKrjJruLnBvv5dnlGEC+hjUXn3zpmvKg9
ZgPXl+62RNq/xNQI61RTBUdNkYAbJr/QMTvi4fCha07m9zG6Tlirr2mDi8g0vB9NsNiIv5Zj191I
qxXjaKwS17TOyla8MQhEcJGOWOCBcsHDLa6gsZKLyLH7+OZ4ZjqJ26OfrkDT9N1CJpU5HIkd/AGf
SsnUBAhqxWxSAl9x7ekn3bIZt5GJUiCYf7Z10R+c0ElXBs1V3AUYuODNR4cGL0TakDnpj0l7tYNs
2Cy8Gc+YzdWQYV7VegKR23FEHxpx+2xLSRdjCBkCT8L8VtuO2pVVxRbWBV88ha0mRnV0ypPZpYuh
dhrbwCEcG6ae0fyGpLY8WNPwzNWajl4pqYHAswHThb/lk0S1kr62IC2Z805wg7FE5NDviArP6A4j
WI5Wsd28y85HN8sYqZ5Mfe7z7kKb072M4sPXxUPpts09nktNBzrqrkYBecRhS2sGwnvd6WOSw02W
0rwAody6vL04zMov+RwM535JFrRS71ZOw3tUGtWjrlHixDB0bMiTa3NkZLP4/6XCFp+hJ8swpD/M
tLYjn4mNg/RsN1d1TPCcfpo9cCGB+7O2x23pYv8YIoPDNvFreNnLpVLv6EwaGPp6NGQD/jAAGNFm
HLof5gAybQZatWn7sTr0YHIJ0S2qUV/jurfILaKTRmTtUAfu3p4amyABBeBg6Ry0ReFtwg6PPB7B
Q+MP5bHP0KslQS0wivB2OI5zS4rA/2heJxZlN+wAGvTNaeqz52i0kls6IbvPOmJMa8fcIiR1MRuo
6hqSiyMpIKVleQfDSXYxqSanmIbeoDUkoJbyn1YxqBabg/Rgpjs4suXXbj5OSYLq2EluHuqYLYek
FuxKE5oPScRJyGfyBGCA5dBuOuOC0ZUfakWPA/gX1vn5GjgwanSrCbijCNlGTCXW3sz7x8HWO8eA
pmHayddhlDVyrQbGblPar74zbVh4+Eeqc8l2JrmPiUpqod+GRW2jd1d5apxK/YQ3Sn/pJ/MLZgby
csq53MeCSww4RuxhscbHSMfTOmY+PxWMxkQKCaLye7JjTLO/eSMzYMXBL+2cCww4/yjH6g2GRXwB
Z1evpxKTY65Cez0VbcRNaGT3gB8BEgz/EBnX4X+zdybLjWNblv2XmuMZ+mZQE7QkRYoSqX4Ck+Tu
6PseX18LjHjPIyNfZlbNyyxMQVIudri4uPecvdcOxDiAHoe42tjhuC7uup7gbM1a9Dtigpywp3CU
jbAF2OE2J6ifG5qQqqlWSack1l9wMA875qoXWhXwYcqq6fx5W1pILQ1fKDTUl2RGH1jRwiFbW7Vn
/I4eVweBqLooo3BCPvfIpfegJvJ6qIHkBGqyHCWWG0dl+5HIzMjAs+/CiRVhLYL1GGhLHRKdZjMg
hqepIJEvTIXEFZo7KqnFHRnLktNNwq88JJm52zgFCu6Qs5BlgWa+i9qiPXVCqz+tFP2J53pPxLEn
MJ2kG7K8d8YkgR9Z0/DAN0IgNvvEHj7efdOs9POIiHNDCmd3Ra6SeR3l8P3aSHVQk5V3syCzQSzm
k5Cy5ItFVUE7pg/gSaLkp54CrRliTT3oYm7urf6liCo6B1IaOjqomcLWt0zqFSQrhq88WuG71LUX
UrKw9Y4Jgzc4H0pwyqjoO8mfx4iin7FRtlCtjvuUulCLAaTd1UPXuOGoYWVHS2FrCdcXpF6RzBWx
nu5jwrj8NKcRP5b9s6wkCACnMF3oaG/RCaUynaLEXskrwyRjnLEXIGXbftymnZwzGB1KtjPmM00B
1upNb5b3xkYoUGepO2nzWSbuaWemzPBpiagHP2p2jrdbRiL8zCo23fgu9N2US/RGYVGObc5jYYmE
ceyAtOYBHHUTBuAMkWTN8n0MXiwbgdmXrcEO1FKeyzbnMqluqBo1TLlyR/pp6ud0B0TklEFTs7qy
uLOmLN6j3x93zHurR16XTjG26IK8Wj9jQ4nYIRfWdZAgFPet+B4qa4lfRy89cZUeUNgOTlEMRB7y
RTpdgoVNbSsBL2OOYVuO3Wyy7upSK7euufFigbRkvX8wRCV6anuJgt0MekXDph6nxmAj8vleYpWU
jbCaPCGW7/Dtt+8zUNN188m2LEnvpToKT5htNz3o6KkUUA4jSz0ijqSvbGr8NSnoHrAILU2qfxvB
jt6mTGUnGBV5izjsrKe0xFkWE5zI2vU459QTxkI+SFLbnBuRZDet9bIMKNU8ij+1aPjWqrLaAa1Z
nmrK05QWnoAsJzssSYV9Gw+3kRGKdaCy5PCAsWHRK4pwnxM65jC4GfFd9qy2DQRUyhlBV6rtY8nO
dInl0BYVbNoNpTL6UB9jvBnruG7YNOPbY5RKTzTA8bWV9HNG9m4+lS22fbQ7nSHpLiMs0z0GD5Df
M7bKsa3ml9LSfgodSNQ0z0Vg0r2MaJFVa7nKK3p8JmFSAEzmOdZ02tx/T8hSNiuEGCxjA128pLPZ
pngwBsHQTmtnvEBpx/EiWuopVuSXrHnU6f9f9UxLnqxWokJdJlIQpxYyAUtsD+qEA4eyADdv9xVk
TX/cwp3XHm5340VFZpWQR0vkNJeEJLX2imoZqwMqoTncfpTl9Ar7HSkxEgzVSurDYEC+gwAi/vNm
Rlsb4fiJYnMF35sfeBarg7Vtu263RHhom4eDAjinfGqnpgJtkTQpcNqFQcjYH7fLRIdl0SopeQ5C
vg+TsDiUk/TnD8tMYO3pwE77Rtx3yvAj63E8puvCE0wb/LDfIIu3WyTY6czh+mtqaIiSR4pmhz9u
YkCtgPLLvFGD2SjutMKlr1wfJC5ah3X7cbv7+4dG2oSHHZcSCVl8h9sT3J7wj6f612Otil7ZiKpd
wQZsxQGchx6K4ZfbP8tuj92eAOQYb+n2Fv72hERvWx5ixpeGGumh0icOhJDGzeGP+9uDUUyo2YQo
g1gKBegTwZuoYtnk07urDrdbv++GscBCNepZK/Evfj9++/r/9tjvu7//nUKbh7jHfz1zTn4xtQNS
CG7PEP8+irf7glBzJJIuOjD4RRqXiXpAGK4e8gn1rtNrBYIM/HXTZFqUDq+3fyCoX5bc1fvZmIHY
WVJRQg1ldBgruA+KltwMq7GkM8xvbrek2Ow8Me2/fz90e9zc/tntVmeZXYAjbv/76W6P//GcEIZw
sNTo5wj76A9U8PpD2ul/3rrdvf1iSNiB5xmGZsgrFs3PfV/HG3gbowS+3vaQN0V3YF0EFVshP2Ab
WPFtuP0+rHkGkp+T6nYmzcnQHG4/wPQ3B1UnB7FZk82kNc2HG6RCpjxPUY+7v3/cHivilZ0hJI80
68MayE9RebcPEqWcJLcfkLOx3WXtjFzELJ+tdETqhF4g12ggo3MByYyuCX6OkrW+ode1vSSU+yxx
8cyC/ACcN3ZmPgkmpCzazUEK5oRLtO4XTfOjSOJnqSwvSkYJdpq9hVa+TelcsFdAQALAPxZo8p2p
scWX8PuC9KlsWofPeSKfCznF7bhkP0yL/Q6N8Gd8AIFSwDJqBs5poaxezUXZj0DSifqOo6BTlJPK
cANKhFAvalAfaTMhShrA9zQ6Rmrkx+tWbAbIGGZ6fDB4g/ZkG0v3RS2OXjmNURsBWAaXigTboEOT
YXddv3g9IJ9iabCpU7mL85xwHFba+1BXTqGqtpB/T/PWXh168NV6ehYN605dOkAtOvDxhh7psMDD
HV7VvH2gYhYM4TN0eMmNF/O71l57HVRB1Vv7Lsq+ma1dmoB8nggUhgDuK22W73Wle68W80GmMWsu
lmlHtfYsT8ansPHqi9SZjf7b7Omz4JwCmibRLwi7DAP5QgcnltkscBlPiKyOtaGEO5mpMJVFbxA1
7QS46QP/MW7fIcf7L8973KqPKZ0bsCZ7PQwfEpN+YrSwlC/JfTDqLerMVXK8DnRzKMiYpuxPFFBV
WDabHmVl6wYfdczNa57rNolg8D7YiR1CedzjMASg0i0xKUZQDUtLeq/0QLbYZikFS/y6DaGRh49J
f19WEN2rInNwBgLBYV3j9oozsqfNOzN1WX7RCIRApioS7G3sVnPT4B9QqUrKcnKyWoUIBtnCvwWo
CW3EhRLVic/eAT3DRoSYKvUNMHwzTF+gqyAxar184ez8BUS0X6mTph0Nbhb4ezVicEmSvAtXlR4G
nCmMW42nD+IXG4iOU1aWWpexnbqsD4HyUeCafRh0r0uvlNSkky9AFUSmmKKLQjL0Vs0AvlFIBL9q
P0I9dLXpUGcCfOGe73hoRdkLZUA1YETDoAUqpSLyckSUO74oNJnfx/38LOdEq2NEXzxWyWDssGm4
bVONO2DclqNi132aSZgsJhFetRWjBigK7WklYfSRrjp0abYNt4eizMLWNUkXsVwErkKa5XXN+i6H
snYids7YG2lWOKlKuWCNZGMfabPxJAxxQwc9FH36itW9QsLLjLp4b7FJtEFkc4IqiUHxAK4TaBDZ
DfkEnVqXj6pertcNllK1KeEBS8iKR2TYWGj80LWgV1Joo1GZ6Manmayhe8LTnrlQjE+3H/18mOdO
vKbVMQl5prRRfjQk17LHCqcnQ22p9osRl8L1Z54kw0HGuv+QKIJpT4UPUkpmrsqtnWGs22kiJBdo
bIdYVY4VjVlz1Ma7BoPTndoPgl0YF6VXjAvEHX/J1/FBHORrU7bfMWZefrVQqwb7cyZhomWjLk17
+EoKswbch7aSZlfCoOoVVhtUaqfcS+zsyArt7xB+f7LeyXxivqlgIrRguahORyN9AQ9msvqfWi/s
ZkbB9ITQo7flkSByiRSx/VSzLMzFE1mk6kmTF/VUysgVZ3QNvi4sOmdyimux1nPK/oaTRLGE+1J9
bEbIJABkZo9yVWdXwqtCqBSsCPM4o7siGbVJ3KIA94FTonbbBCYNYrzYQx/+c8nlK8oKsJqU5+Ow
L5716W5ZO+uqxTrzSvaKu3w6koNTn1JButxUN01LVTKpxEOEhWnUefn/XlksbWHK/0F/b6K6MshF
NGSJsL2/Wy3WUU6txFDqXUb66m4aaXr3RQjJNDaeTUSL17noWrfFcKdt4o5Z75P/4S3I/8ntYW4J
1IqIy1mkEaj8LTnNCuN+SBH07woBuVM4yOBDmQGEidAxLmTvOSm/myCg9qG3xveqFRGPW2DEq8ET
dLg7UcZF8d0mNhVHqTiPJpQGmst7tqvi/aYCvVWj/vsvTv5PInzetSGKuCfQ4ZPTvv3+L1GvuBly
BWcyX5zVA7bTJHNPYuK9pKzI3qtcDbTRrNwZm9aoA7Zm25S9r8pOUrOvZFqOYadan7OHgyr+0mXx
paKYQ/FH+4lARVOZv1gCU4156CqNJO4kWf+HpFoZi8/fDzwZrrgICC3kY9wE5395/0uX4pmR9Iqp
rmTprmISTfqOD6ERFYGgeo8qo3SQPI3+mhtv4KyZHtRT2lu9V8kVUFbZPE7ml5alEJJ0883aKiBk
Ob1z5j2kc10H8I0mpytiDSqEeq/2+fD/LWA/yx5K2dNS//zf/+uTVV7pJl3fJt/9X91c2GRMzCj/
tQVsX/5IPsvPf/M3fzrATPUfkHW3+PktCZpBgO/mTweYaf6DTSoJiqKEVeKPX/3TASb9w9AsRr1h
aJKq36JU/3SAKcY/DH6B/UOxGFeaYf6/OMAU62Zo+A8Tk6QwF1s6RXwZY4n8N2PQAGUjWZEl7Reu
9eoQALRD5ZMmxTlcYralFsyneEshTWfEOil1T6RjCPKk4pG+rbyFFwUqBQQ3FhOafn2pI2gB/zFA
oe3az562BMIU+Us3ajSVpfTY6rJ6gJry2aD8Rf5E3ApJHVxoqgHgaQEHBpUgGjc9JmdeQHpSsdho
yMvZ9/NbP2jZEWcC3G5lvFum6JCYcutm0IW4AtIBQFhwtHLodhSqj/jzM1+sphaxg3jSKGS7glwi
RmnSLwITGkeATwIvO8S737Gi64eLwEK+tVh5GclIUb3Q6ArB24CwZkI/xCMQY4hfNOOjwomLNQ2C
bd3md40AA1IxQZtFU0DIEB2+UapOJKS3La1dUoJ+YIJ6T1mVG4UIVn2tf42vlij5mtrllLJTSiYq
MHGZdEYEXkawUMd0dJDNdhipfMUz1Z5R0nZ0ZbzcmhQv1EZ2InWxF8fPeLB+UqNDFmYcizwLAF2d
sfTJQaMjtVOn5kVrSpf+5W7I+/gUSgD4We8f22FrEyTxQ4HCwGO2+YpYjJ1jVdc243yzqyLxKlyL
GHds0qmloxQ1ZmXyC8wYDq9cAmoMZ/GxGX6BzqdJEL1OM9NxMQFwI8nkG9oPzhV9cJRm439ZyXqv
FkNAJMBlSWqZ6riqn5v8MaM0YtDrcokHmLyOcsNDl7OcK/pNvkJNuamyH/qWkTCC23MszWqcVJgi
lIvFpRpxcMeShHoZU7udNmHnSoby2JloyXI9hcBX599hZeXUSsC/AQ6wpWmS3Y6W8C4xheekhI65
adDiOEfszn7CT5aopD20Qcua1eteqhmcKvq/S6+MkkuiU7cPDalzZb1GCUHITYegQFAaKFTdDZfH
okOconv2DRb8gQVJvahfJxrQrxVoN9ICzZxcyhrghR+KlCNGSMhO2eekrsUYKgwC78wtMKEapl0v
JC9ZXV27tQYwA1RtL3edj6Gkg4ai6Tt9Y+8AKmh8douihhShhKR8iAs199N4vde1j4058TSMoNk3
UDeL42WfstkyB0HESSUEXTQRlFY1Z8ysI5wcIOwDhDJHNhDSsfzTkPc6YF4m9IhFfEzEbguNekXR
KTroKR3DGj7kdDynixIiA0bRm/X1hZ2hBuT20ZhS8x5MHQj1NCfQfoSEMRo/swirCghu9pLkZpG8
q7iof7+wqPsZO6/AWotvWgf3sSIsqL3aHSrWwpMHCPNsJmxFIyFVxNtPhGAGq8Rm/SMAe04J/1hU
BGMb60Mb9IelhF9dEfhpj1Wv+xNkop6sjLXp3+Cq3qWDGe/yDoKruX6XkBbdZNBPUVqHcPzoaU5R
/zhow89MjCwIWr3q5MniGtpGRKUBafeqgbrIUC/NSeHrUnvwDmNJuYEcKXrWR1kmjlkSkbQseJnG
yC0zzReLdZcZIcryas0QSzMBqVpkepIJthB2OB7U2FF0mnwQGA4SRkVch5s8uhAN1PtHidGBiG9m
YVEnNoIpOrll8xiXBsQek0YF29d50LZ6A1N7YilbTmXsjpJyEWvjXQvpcUYsJSbhNZfpYqJQehVU
GZ9FEo/OxnmgCas+CsTfMf0t0VtGZcSimIXKvWSO0KunWLTe4olGQSkRxLXKaEHx+XxGjXyPW2Xy
xqx6MReElN0I/TyGSNROyU8CL6ZHyypjrPTmUzEKQPeF3rxWyWSTcDgFShU9hOtwmZOCTFVdrDwo
MNPBYh6XhrJxsxkF80AJ2jJ/RVISooEanuu+UB+15KfZz32gE8dXTzhFUmHGLK8Ob2tB1WPV36w6
PUF4vAizeOnF5gd4Hk7Hseh9YzLRt3DJSxZcpst8hjTsmxLFYJRBEX2eevRMc0awPATRKrIhkhW3
Fu+nDlzoIBnPJV60k4lGE79RLAT4VUtRhRQjCUdShAQ/o+8xs3ALVin+qazVfEyNX/DN9X1u7Uty
51xTV/aY/b0ylYZHRLpArUBrA/q4qDCmCGDBvjej2ZaGlIwCCoko9hCaJZN2TtFVkZrA7krMcwI7
0R94nYYWiuLHPBvXaFpQXIjiWd/cRzPF4SwfalcYUL/EInqSzlw/Q7VMD1mdveiGSMu81vZRjdZH
w99wKWZCJTIzpw3BbACYyDGTSDu1TfmI0UJ3Cgon9mCB+CxbIaeMUv+srVI8tpnM7J/QipD14ZOI
DIr1WgrVX05PTYjkPDTlIdCGgYJeGeG8CzsUkwpyTpCeBChMX6ui3YtI7V8UvSWv1/oaDXaG/dYI
N1K59hGMb+mF+C81/SBBCz4k1vqDBvhXugxq0MHroU9WLndMSoc0UriOF3SzTO26pPDOqS/VmD24
VODwJqevb57EjCWOUOijpykre4cEviOyKOrpK3i4TPCGPn+okdoSRNDpvlxt9HEJYaol02plOuvr
OT21pEwgv9T3c1tsMY60k+uMQuCa9gVZpr/keXNN1PoJ1DeJAMQdLZTDYrK97QzQ3H2zA+a27DIF
FGRZ66y+FLAk6cCFlIBa9M/QtkuhBIi5vJEFudHdgX/SXj9ppOgWrJ/uFryQ0QK4SF5H9b4f82WP
auEzbGjW68ZgnAhkjG0Vm2hA4obliCrQT2omx6aY8MjlBAzS1jilTxVuDUeq2h+zMVR+JVXPutp8
9LUyYozkMhKpKCfRbS5Vn1+THnkCs6EpbckaQvEaJ40KaRwF7IKdMh5LmtHizJxdI4eXhfUrAYEH
Eai8bytN5+q+takS9UXuJdmX64T1mw9/76V+EEMhqMxCR4AXc5GvJdWnnIiSfdxkzCHam2r9jqdU
ptFCgALeM+QdWeTWRsEMjwVuAjsW1IsIJHSV3skFRjFXtExsqBHRf+ayTUPPsRLAx33YOCHlBdC9
MMqEmlhvSF/53PjYPUybSwRpeFoyOXpJDW2AGBgJrEGghbyYSiOe0+IEnPQKWFfYK0lP7J+0eCrG
bHvt7orUXA/gyUd3XUe3wCRmW8vLykQ/ozQnTgA2Xm76owTVpBRS2W+xNvnIy2PHmEm6aBsZDjLh
IEV9j+Xwg/yW6rCwyrc1Yr2ogOnJchfG5KTPgnjIjPIqG+De5xKNFCxdSvoGnVB0HWItomYtOw/9
149CkBAU5sgt5yF8StT4KcFsTmughYMXZcikTZqwHuRZxOkhFSsEYQMEapoMmAfaP+/fHmSNLe2z
9qJMVkGohop8kpT6+sDfphj1+LzEuiiro6Hs8Ez4afbt10hsiT4bRHItVPBAydYk2m79u7v/7rF5
lAEXZZTzbn8LV5nYnEKHm/xfPcvt34WNJK+OPg+5w4poK9//8zW1rKC1/Pt+zxrejU388X/5zV9u
/n5TCJpXgFhoKn//tSDIAknnFYw8k8XUH8/7f/spEUix86LB43AKfCyNLnm/X+2PT3B7qqwmfrtQ
MFr9/nXVEqEAuhJWrkqzz9LYU/WVstNuQ6GFMog/il+QzUZHbbvV0QZyo5DL2e9fIP1fHWMbZTnF
a9LnMBnpN40qGmpaMjf56u1HmAKTZDEfSFs7dZvq/vLj9piFxNGNyky2izJdg37Id3JOhh/WI8La
8rlH7JfQ4oNatDpi2aATLvJneTugccEI7TtC3axiLg40B4o/bv3tMVU1d2I6kg9xa8LRZkFEYJUQ
dHNWgDipcQrTQLzpa2Uta3idlt1vXALpiIvKGSnKkmNOSOXtdX7/WLZXrLYO7u/HKt3yc2PVgnDr
6Alb0y5aR8EPpwys+tbu+9fj4zhvfEUZEBhNLtrO7LgLXvP2R1asX2KprHzr1keOoobm4+03ijG4
CrKt3W9B8O3W3+7KhNj7ZDkzoo/a1tfe3kHeIScTYCUeMjltD7db5tbsu92Na+C+JmZpHFbk37ab
Brjd2rK3u388tjUWw8EOsv0Dbs3DQ5XYD2nLQOsJHvdfRcsOwHqBCL603uRnR1SOp1dEM3a0X3xS
xl0tGNHB4eugzar5D+vhdfID1Aa2TmUawam9pEcaDtK6D6/BmB0KMKlOEF5bD6eLPfhHcP8OyAqn
X+xgPXQuqg3vfXsxzM1sEO2HrHVfU9M5zk62fyUc5tUUfKJ7vnlgcHnB3A6vhCOs1Q+p8ITsyokd
FMdXGFCUilno4MqNTQfxz55V8CPvDYEULx7w3IztX52LvcOVDqQxuiC2J1DVNAbc2roWoF1ivosF
ojpgrbekOanlma9lLYIOO7xGwwwYq0gCL+r9N+JI5o95OROF7RHavIvlQ9NRiveqhaaJD3MBfaC1
nJv1QTf2YeSBYaWmzCLnntcOTwh9vZyV+vQw+RwSup+T4jTpEavr2Nrjr9LE+ovGzpViR4SvOr3y
PrLjYAa8DRVX1WIjdJh8nYvCHt46oVQtBXR8uVhSkCo63MUZVVPaXRzUZDgwiepV0REF4nRnLfCe
wYXZLAl062SyYf7GrCgLPlUgZILSxxiCrWWmcurJDSO3za4TTsxGwXV1gJptlPcs/rcXm+kzuByF
6m0lNAlYMlJ1QhU6AI5usteR9VLRyV3xvHJdOw0RUbJ7hoUdgWDHCtUwP/X2lol2Nc/N3iTmmCZg
OHv8j+xHD2EpJqzHLLc1RFkYJPsge1kWJ3lRzkS9wNMnctdWL+UJkPZ4ig8Cn/RATOj0xA5Tahzq
ruI3nn0qxSTSxl+AfxC+IH/+ueURf/DtFMtLeNniNCyCzeJPxF5+/DS6SeYsX7vuSfQ9PMDdsdon
7akXkDWTS+HKwr5wlEvm5F9lcUonWtHZyxZ6jHI9a07iBb2SS+KeTTjXN4tFjeO1Ovf1CdkS3Uaw
e0dh/4ssRbuZ3sf9nD/28s7wq2KvoS2oQ8dwZkY0kUpuE/ZeoSjw2cBwHpRf8y+83bTNj+knQ2DQ
CFs09tgM3NQbruN98QNcbvuCU8rsg0JxaqIGLTt9galtdRyf+kkqgqh57Mp3/pxOEsI2vg+VvCYE
Li5HXWKPXXjz/CGQ7r2cGY8cssF5XQ/id8AvhzdqJR9Suhudkc37ho31GEj5uit/WYhxnLW7SPhr
yzOvjTCO1nL+i8Nfw/fgvMFNKT2q9YnBFcVubGwvqXFkzWu5nuIXPhxPuckBOLBGd6EvTq4ZYypD
iYnamr3ZeiqxqukDInm2Kn433akC/o3rIv9CqoWa9ZOR3LX0SV1LOMbRiUGZG+4GwyUMh3CNDf9D
om5HDM/2LZXZITOfm/rJqr8H5UfcOAFxdABHKszrA2Yum5hXnjJJj0L71YVcfYiDNq9ENhTycWRx
P+YYfqRAmpadNHwq4cOosASEQ988ZkvjMFc05buI3jyvHuT6ZF5X6dD0ErZqTuK8IlPyVSoXKiv7
kb14LAU8RVz9eCULqnrpOg9qNjMj5x61QA2dohsSJYUbbT/QpHZU0sTtxc/a/bA+WB/mmSMstzu+
19H5TBzz3Nv3SXzRguWbMxhyJNMTpwnTwtTuQGJjk7TOBMF/Ko9KgPYid5jKsyPtGYS0m5zKMYLx
AGyROZg59p2hxGsE0mH4Zl4lYYTjzB+th/KXxh2Pt3IsX6gzLSSLOJuTQMKy8VkjdrsKPwnoZfRw
2IiK/BZ90t3srgXQxJr8fvHVq34m6e82NSXAtygYFJ5yYBDyTpB9v/V2fM93QN2NKkawqm8DkufI
C8+LP4FyfGLmTI4cOGw6fFvGQOfaUfnHGvgxD93smzn7i4++avlm9mEqnTnXBjczuSyGO+lAXCpX
DjVyRy9xkLMQj/DCZDm4bO4HmypfSg+Sz2CASDzqZ5PeNlwAV3hWGUi/hA/U3LrgjwcOFmUcvHOS
C9+g2MOZ5e+L9ONdvQqnn3Poid98dQN6bXaNiM+2CX17+vSVSgrTrpaQ4MyZ7/BbpurbyytFANGp
OiKL+DQ+PL594dl4JC/rzbThjj9y+eM4GgFfUPw5fXMjwBbVbleRLAFi5vd2yXV483VwoLcroeoy
O0gH4ZkYM9NmbCjlQw1Bzjyn9FNZJjyuHFGGFu+1tAnPOLKxZzggxOFwYLcKWEpm++0jO+L3JyOP
y4XhEHhwaI5cv8wzR8l65KxfuRJ3Pvq9o/FY8HxcD4JX44Nt2BHKjIMlhX/OpKAE4lk4Cc/SgYPE
f6/py+x88yXo19nhuPA1aZCy+FYBJtp8LAY/l1BstJynmLlRzvAhpUcuL5pOhtVL/iJfOYzVkctz
eDVOvceIVpijAitlyuK7Mk5c/bRHzrICGIWbfpJ0J3P8EGd6wrLjFVfIua6JmIM3PeFjYnnC56z5
S6ZK6qw+s2j39s4fs0YpGNIWSlBCHPblukuOHHgmn/yFaVA6cObRLznyyZgD3ri4a6d3PoXywadB
Ocw1lG+W4CuvE3xeyvh4b7tjwgX1gx9UPBeatG70xLAv9kvkGY+DwICuPY4LOW+qH3+WGlJ0hjPW
F5dZksFKz4c3YAR8w0XrKo/M//zVvA1SffYZZvkv3hYXf16CrTiGHnTQtFS/Oa1DMtaYs1fk9M5C
8GLv8dLWaSShas8qSjjyl4u+m83rNkpVL5cCmYF+VMQgbMgeB7EFrsyfHvJf1OIJcpiiC8qqNVjW
+Ur9IKbwOjxz3eyZU5uPVkBDr00PfAVoLh5S7NdTMIxOsQfjF3nlXTjst5o+o763XFBBChob4hIN
QhSHk3AxKAbusI85GkY+qztS/BiplcRdx79rB18d9TvoLbtVYQu/7w2fphbC27p7ILm7159q2ge5
bHpkWWqnT/PKJt2uNZupAWkZOZiQgJ1pvo+M54eleSuLgGTX5APc1SpSDXAi0M1oF5yEgNS+J9Ry
PW5fPvCmbYnmJ9P1NS+oLPosmxBrDFDs7+SrDJ2tODNFGZQlpu/5IBFsvFGsaMnTEXnncjrxNBMK
IjXFdM1VbYYb4Vek1lQvGtkAh5qDSEMEeVLol+U9BG913IaBWZ3qdqsNO89RJ9mreU/mzLI8sDIX
p0CuTrBKa1bE6h35A2igmPxZuXJ8LtFJqzzY5nHx02Sv/8Kl1XgmPIpBmkSewnkKQuzcsKbZBtix
YR5hrY9ceLucs85m7BY77MjTQ0sY/DtRhECu0etIYpATsv22DHtxT8grk/mA7duHj8U1sCzvYhNt
uj8/En4jgV2dbHD8uuIFQcAk17cX4bltfUZa9cZ8xQiYRUfbkDbQfE/AV3hbSX1SE9fysoC++sos
wLSyOCsFMBmRgcsOg9XK7Ig/zCRQEMGLTxNKHMtmx8HYCmKS6NjvcHll7WbLCMKeSqgvbA1YACNU
GXYSsTx4sgBuE5ZLLZ8LlKOcyJ2VI7c4dt9z96vAYy880t0rsSNeekjRT9JH43JSGgFCPzJV4/au
R9fI0pgJWT0o6mqHVNkhnD00VKT7UN0ZXwio2fDH7w32z/QTRj1Jr3liXYnV0PqXLOAPI7aoflJc
1vaOr8LcFx9Y52fjoMJgIsx3gKTvFOScwLk7J4+Cx9rS0xhcOxa2qPzGu77N2TwdgVAJyql77zfg
RcCFlFVrf9F3tCxy3RkER7Tre9PuvjnlqhQfKLx8RJo8t1bA/yAZFvUneD+3LPdUvmbbeqXehJQ0
iRyF6tB3/4vLlHFnlR6B5MKJyYSDG6tBn52qlPTHHbbO4jSdKD7S7OzI2XTW4oPmbnOg00L3JPZF
CogsXXDKrZCQkfjrXkxYpafTEpso1+r7RbCHyRaQ2tGovTeVB/Ed/xxDaOZUBowzoPWM7YdGCGLM
tALl2B9m/NCLTjm8THS6tUMqvJEzuoLRV07YYnhkYef9Uk22dg87O1RclZmfdOP5bdZkR+6dDrio
11k/dZ1Z6H3QkOgHaXUw+Q3do9QZABfBgRkeezh84icNdT4Ksed1uYtYPesAWjxd9DPHfLqAcvLR
7mwLE3zlbI4+rHtOHONiaUHxM3peHrjg4RA1EzyGUOyfKrlhZtyNFAK46hYCZvTymCosQwLBWX5E
FOkvRIpndyWXQbt8FQayZ+3wKYQnT5UQV40C81LPDyJZDvT/J5o9j9qlozCsIgoNip4zqRftrvkw
mH+ajxEnATl8ThG7LO+FziaQRLuEj3phKz+I1Ctewg/oTFREbKhh6TWC5WJrFwuud/1lAkMDLtgQ
wOOIVwzgyugyjUkf4dG69Fg4CeAit95DWZgSrf3BYVbHfRKY8jHEqnSdD8w/DAXD5pk41jlBDsaR
qE6cNnZ7B0s+0R6i6WnN39TRq+IliON3hTdARdcmOrpQEUPqiA6OUue05/x7VdzhsXyfoFywlXe5
AjNL3s02+9fj4iK6sw7dkauyXJIla7df/D8+52f5uX+gEQMxLSvIZYBkc7bGe2QPoYqn0JmZL1JP
OBUyYiGvodKG8OCTGaND6ina+mRD20G6UMpe52jHek8e14Hvbmp6O/xY/fmoARa0Va8/RhIz4egS
vh19msEJhO9T5mUTe8u49CK+kXHfGSRxf6BecJvGS4zDLq1ZK7Pfc9b4sxPMB9HgnKr3qlN9WL7k
M2dyMfeaF7BY5kl/psjiwWRFYoHrgvEuM2pf+9EPST/b0qRJWnDxyIupXbO/2sVEE8K/cHUBq9Up
ySjuZ3cRC3rrLNzdLcWeNob+GN2RgPgsD7smdeElgaqhMHdmNlXfyR2+00Rb2RWZp+wUt7hgBrHj
I3Zn1ZWwvN5pZ8ml4s2s8H/YO6/d2JVly34RL2iS7pVVLO/kzQshS+9dkl/fgzr3Yp8+QKPR7w1s
aEtaKpkqMjMyYs4xkfnvJEHWzDo/sO1DOUK5+gprmOHPOnir8RfTAdiWxI8esNic+r1GV/b2EFzw
D57sq0JLwbOviNKP6uTJh3jXK35EFaqf8l/J8e5ay7V8jP1sY43ksr1ab+F7/9SpazU6JOv6SfCM
7/iN21Uyn1T0CNhxMIedqxftHhVneZ7SS6kfS8dv2gdeaLwPrB4eIlaQc/GG0daIE7lEiUGxtYVH
BdKKNbFcuaz5FwyR+t7221egcVxIb0zIwq3Gs2zA0mL9PpYCHYYHjauv3yuoK/Gau1i7r8UNva0G
GlGgA/2l6nLgX7EpQTiNoRRz+M9VPjJU742jE9sfFYICBYLarET00UjUsOHr8n+C4njGM+7mk+MX
h9kP4ZnvYfGkrJlHZPkZfRV+F+IZLYPjvDdbK5IjT+OrjQSBmtZ5yU9YXU0Hz9G0bV7QKJShLzD8
ql7okynGMItTFSMdRm0wyLCRtV5/J5z1dEY0Tbxzie8Bd2nhS9gqoFul19jbUeNuBULFlZBy8ktJ
0p58Sn2i0t3brN3R6lchsXBmR0nix/yQ0mP/p5uhnKfNB1cBDADK3nzL2GZK3guPGwJl/SXajd+M
/jg1EVABU4W5z1M2cPaEtPjiYjP3XC9+7u0NZlxxLr3gbVm9w6eO0ZBnbORr+hu/9J8EVJS039fa
l0n3ZO3u0gnw4SqY9mp7Sqf39jfDymCgmGAdd88kR0JX4b74tVqPNQ51ARXHSavXjMUZQOktrFLm
fDvCcWov2zNmQh9E+wAFEBUCqzyKjkpZJ6/VAzyedrsEP+6cPUX+w1wfYKvek92uJZug+ijvGgzi
FWKcI/onmkPuJbqCJtSKXfZCUnI7wsNYubYXfCeF5qf73OnJeDANoCrrAm7vIX7rCbjbhsZyeoEg
p20x4hEUl9wryJg4Prv1W/VMS/WrIy/CJxQkF7e+W4fi4gL2wCssEciW846lA+gCBkUlWQ378aK9
OG+onbf1luP9iVvS2AwP3Yv1FrGKMhLflKG5Ylcy5S5MbsSJrjJgiJzcf3gGOAX+5sQ8/JiIPTHu
GveSeuLJJl54OKcfOufe0J+5REpP2yAHheviMyQoGS+/VJ/VZ/nlns1Dw8mevsYVuQBqAaN+yLih
e7kC5uFTqvwk7tIfQcntXgjsAjwC+HDlbM2rrO5C+guH7qCC0jl1n/FT9VL5S1V2DR4LAxbFNay9
wAAXAOss+KmhXs7WshiwJWXxptCfnLjzfnBBJ6t5Fx5pDZAngDHcFyxuHhUAC/Au3g6fnTd7JLSQ
PLmLGLod5a7bSbQIiM1Xw46VJLyjvD27WGu9RwI6L6n9CvDdAZG4ngtsKf7wcO9ewnfmVRHIMPVN
faDH9vzBAMhaVtvn6IUSKuFV5sfaJSsdWa0umCGkKB7L/vBiX0jEoy9+NVjJU8+l+emRFss5fpuf
zRf5TYRx+W7cl0/BvocG8BIf5CNX4k+d3IaipqH9LMKDff9IIlDsfdWr+AnO6QX45kz22iU9wCZl
R+ZSCG5wS0hA2A5ejwHkPUey6F3TaDfovq6+ErOzsg4UZ3Q3Uv2uG4NdSoqs+2iXyqlTwlu4DE/D
XHL2/3t3NJZZUDNRQ+KSASFaksgG04qZEXOfCefiWjcHRh8jE6C/z7l1fKzQ8WzTZYQVLaY9JBI0
ZHTYsaz84wTU7H/+JV/e++dDEQ7oHtTHTi3yVbeM3v4e//fm70s7kfCdptSMUFsSe/kfj0/1RtuH
4wGXSINV0ALfsrwJlw//PhdUIyV65JgfLpoh3+I4bPfRv33pfzzy7+HmYqv857uVTVBusrR9ME0H
8V8T+QxqdzCxakJTeRPWy8/4e5esDTSKf+86eKs1H+JYsW1ldPzny3F8/fev+c/n3FAhN++fj/++
JseysWOr2fzH5//58F/vRXmkrv4e8c+/pIJQ0rpla/rnHxwDmLT393E5UpfhhnXXfw/5tx//92ej
CA05K0/cVvisHLLAPdhqg48yiubX0sONi2kzVADqmzrfJwOBw1gqN0z21a1u1OcwZ+YVJ/SuZuOR
nHHq0fGh1dxdT9wvhC4B4ANKQY98orHMVdextVuRcx+HyqeTdudW6O/EkG5hCXz1ML/SBr4UKOoX
iBigmxlZwHpBMCLo/0wKEYdoeQuMseQCxRgzhlwjsKAcxGYYtJ3aICtIA9vdGSYy2Sh9IWlXrgiu
2ndTgwZPfaz+tD7pIPmW8gm/NqtgmTyM43zM4Zx6BFcVw7QG246XwZeC2rJOb0n+GobUKXQ5xgV2
gwVSaQF7lSBbI4ImN0DbOa/E16jNN0KzWbuM8DZ/YFE42BBhPBMgg8ibpypWPqC83RVmSj7d5zgY
zIIKzs0sOK5+nZuiXKFRcZiSmjqGJrABvUYDdKapE9jvErnoShJfjdQsXJUNIbIhaDRw+WSOG+wi
pvsWhoj1KkFDh6Qecs2zyxjYP1Mn9XVa6d8oSc5qaL+GKRJWvZ8JjvzS4HmP2RcmF/BOUCKYb7bo
V/vfqHA+GSMXx141hm2pzsRRxPGmUogxRppo4suR4Bn8oCte7Im8q047NDVBkDXxzTlzljk4yVi/
J8H+Nk26F48N6ig40CkToaZAlNVtcijwzWhRi7HckwnEk64/9e52cB4tQfQF3hy/N7FdW84xpOfZ
me88TZ8toj/Nza6annwKqq1MEnk6QwjTxWqs6HrkPGcECPxUSf8JMgZn0Cyo9tjjG0QuPGOTZZ86
W4PW25jRMZodL+g0waeZ1blA6NaVvIMdJb7mlHFRYN7n3fSaVw19ULenm4pt1B6KHy0sci/qlePY
YtEQBJmltb2VOW0w7H1oSZY5NYVlkijTPqqT7xIIsW6r6zAfnyqH3XXqTIBOQyshmiQniR5o3Zpy
DUICt5iaVZe4Vd/mSk9BTTsgIggU8HL9Wfbko7b5/J5aM0uKrqGVwV6DDEBZow1846zP9ClcERPm
23GTbFxD/HAlwYDsnoPR+ehAvgRMpWcbqcasyicpB7gzsd9YNcrdIQ/Xmnqe7PDBjgqS5oyOjhXt
D2PU7+Vzk9PQydxB35N56Vd6p6/CWDwZvSO92tQ/6i/VcH/rNMfHWfJ0SXygkT0ddVMLNiMR7mt3
mti8huDYmfHgKTUcyMg8aJFymdVgg8I3wMbWgALtfrTRxbHG4SGrrCfU5Lj7dNS3Ux2SoWJ+WFCZ
V7KkjmYiNudu7SuNytRiKr+TKfcJVO+vqVo6q3S+IH6+anVK/dFM7kYQ+kLcenIa+1cTCoxXA8Iw
4YJCc2G6HU2agxodzHSW/zZ2sOrccWH6OHdN0FJkFBTkw69o5wfUztjfSc/2giCWq6RMjpbVvhBg
pfJijXAQUfQysWbYkTl16lfPmZZjZjHnS6UozxH3Js+u+RqDAYQZS0cmVvdOODGrtOJV3yfv06i9
DBHyL73pwi2+QxpWkYk5YTJoD0EPDdpxb7TWGfzG0Yr1lhONegF4RaU6hrfyZ2iqb0yQ3LYMIPOD
Ec3quhaxvYrscGUT1dRbZHjqQ0avDSMbqxsTl2CKD67Tv5eYy4CD0vZUWHt2TUa8KHLJW5TV72bV
PtXFSKqlvMyNviO4bi37hKmpor6EDk2v1H0MxvqWz/NWqapbLEjsUwo2hsaGyRTk8a+QoNolcH/D
whxRRjddAKo2LFDWmZqukoWsoaMwXSnmgKLLAmso0m6lDtkXmMYIcXX3KyzaW3VW70OMUSmL96oz
ok+nmZM90mB5tAOO/KzfWV2WhJYJxIhI4ezuoe3jX0iI003ruPrnELW6cIkjX3ZBZA/lJneGmPZg
n/hJW7+mEqxc2xVX4wZGa1aq1AvzHzPX9dW3JRgX1NFb1n1a0cytruJcLScVfHk++wj1D3p+pwTN
JZR1e0FdvahKaahr5cTJBrhKALWElSh/VqL+09SBJdr6MupaenVEJw95hjm4LBS25/EptuaW6tS9
IvvUvQDhHC5++vUI2HVCKquDIqExqqVgDJwqsAfomFcdTRAHbS+WqptRMPtCigulPBhfVOlOXiyc
fVMG5PgQy4Gm2nxRCfv1ArXgqu07GiFN+qjO+hcGOr9s+4MLuDakWVuZVE8Z4hJbS1EQTJZ5MhI6
6R2nz4iOGO5hDKYErw978jW01UiGqHFQ+pNtBIybVMYMhJ6hNZHZTkvN4BzScnRzRJ+2MX25Gd0p
taVlBCvpThlo6KcOYcZlsI6G3uW3ZU5SFHKi0tFotFcFuDB4QYNQZ/g2tAAc/aCCiUV1SVxgjC/R
arRkFSMO89u++tJSa/fnk/r/qWL/N0uZrqpYGP/PlrLtT9mE8f9uKfvXY/7HUqb+F+5NzRW2qmNQ
E8a/WcrM/7Jw3uv4xiyD8LDFbfbfljIDX+L/WMjU/8KQRqYRpbqtmY7+/+Ig0+0/h9i/O8hcos0W
/5hqaULo2Jj+d4emqxM8F5ROtmvz6qdM6tzjCI2k/NdFjw2WicM3ROY4r0+webZThOHL4bI8ZLC1
8cFAW8gGP3SoynKZcl4PIE84uhruRoXiOYd7FjQuondioJjmaXcINC8wipYAdriUlWP8NhMSbuJg
fmZOFaqluMfEGOJNBj2blVpcFGVI160YBg7WaAekrRSbJiJoJU1aH1Vh5Y8mM94Zy4nPJn3J9deR
y78zMzxsSYLQpjRvbEVIxFMTj5LRApmbnE2jUF3wyGFlssagzDL22UB7HpTZNznlzIJpD7eE2qio
hBHCAwoQiBeWSJOSRM5ktjZTon6ILLoFWTDAcaCWcBnMzmO3SnGl+ITNEPLbgjAlAM3WCqgK40gm
qKltYyHqdRJFD0M+3NUBhF7H5fTdxM6Xm2PeJ/cJhHmALLyluBtqui9mYt4nKQEeZvXUd8N4mtNj
WaBJE8Qp5cuMc84hGWSVyP0YZNjKDWHBizm6U6zpR2SA2kIa2+AA0xykNAGVsdQ2I+42D6olOyxF
Hf/pE4YuS92bMPLrnPYRz9UNYfYzWT7JIeC0aPXMR7SwHPym4wgwqgyNasY3fQN5yLbQSOQGkV+d
lJ7UnW8Q/5cmVX4piBgZHyC6bTHHAB8yv1w92MGKeSlCYBPwGcLe/ErtcCRFoLpO/FnB3NzsvnsJ
cnHCkLCKO0bvVqrDx3IIriByHON3fzcrEwjm3LkfO4EsXF2hc94a4qR3/XdlL2am/qUnlHvSZ8Gg
z9lZrdECtdL9vBUnodBaqCsJ6b7ZcmT86bJp49iR4FJI79movoPBxTkRA6dHU29MyMTL/NAVtHcl
kCg2Wz08ji7EEkdz1x3JQhtnaPEGhyEptJy6A5Dl6oTO7mfqA30tsd74xhx7Wgivj5hctO5pF29s
jXNjJar9RHoYTOvsXDklTZeeXnwOknDTmpbrOeV0n8D1wtMXROdeJaopnfqHjJTtLq13LCz53Vgf
OzAycA3lI7izbKcwTDdapVtNoRkgNAteZ4jHK2eiM0tyQlYjmXMSRUDJl+dhMMxVrCBdS4iKmu0k
87Gi0PeOYwWhqX5UlT5g4EeCSEBqTtv3BIr0XL5T0D62Th/to6ie6CWO7zBXgrDwUwwfq4ROm43z
6Nym6nuhhO4evtlTQhaIR4TBBsLSoR7n+QSS7oSfdMRmYXE8AiAekSnoR0NzKjoxbdqAo69CU6YT
4lqmDgXEONKiItWPEhUaNqvUprfbu8GJ1Z32rUyVu+/S0ISZJi2vjynYSwbX7pRax6Jb/uhK3pwi
GTfaNKB0iutdiCd1p1g0/gjgohutKYz5WvSIEekrIq0XJZsxPxoRT40bfcYKoa6VrB/k5KRXrORM
fDAsNrZZ3dnagDtVGu06SdLj2JmA1cug3lj2K4EH2sWs+jXl08ZwY/PUmOFX2wHzC0r9eWxiJrAj
T2zU0+mrQxpt3BXuyhAcpZx2dDa5Aa4wL5GhDPXIZG5x0+vVW9bbJr4s0R+zai2b5Rgkv8Scx48m
zclZaxLfGhnqS40+EO7U2qe2trGh26dRaQzPglm+EGi6lZIeFfs41FW+yefvwG4av9bw1lSDi819
sHn0cjRIgM6PqlilWFJYLK3nThAPlrPQDLWOCF2nKuuWeIGQbleKQkGt0M25o5Wt2QvBgBcZqIKo
vlK67NqweDLaKAAZZm8pm8tjObV7cone2UCRss7BfYxYWddseafW3TqaDbrQUB1Po2iZisyx5Slz
kT93RfFhq/KcSDFeNWfRObnBV46vzFeZcDhFExGA/qkkRbsasGf6Fp7EFT7EJ72FkNEoxqYt4mPP
xe+3cRtvXXXMfCzAV4fLQLeYZo7AZcn81Mguob2CO4ahHm0UwEI9OTIh4MIg6DZKrSJ0it4UPNy3
CdpyNKli4w4YTrGe02pv5VuEOeei2eHzMHWHEd4EmsxyWoPpAEKuOcx+dOXenJkqN6F61dz6PhoR
fblWO74KvcWb29j3Q2kWB4mSfktUBooue4zItWxmzk/x/FQqKuE3uTzK1EnXFOo5LGZQvckcgVkb
5GtUaTgOo3ZH5zM+TNWNZMHMn1Kh7RSMuUeL2OJWZyyUzkG7dUAjXaNyrwdU0HmbutC1ykuWmB89
nkTmCth6jK55M8cmWYKOVY50vH7QWsnyaqNrgKNSD8ELdubQ0xooP9lrrJfZFk+T/ph1gzzSQCx8
cJwPQ4FkQHeal3TOvgaDDOEoDhh9pi5cqZnx3drVZ7QqLmfPRrW/WzwTzJWs1yTSl6I5uYwuXobx
YHXzsI0MzgOTUNJTiKcLavl8rHrfGJXhvhgS6emZe3XQ1a8NVybQnWtg0mzGGNzTi5PAustrRsOV
wNkTTRe4zw6dwEZ5VLmhCQbu3hLbTjeiVottU6bkjwKS4okNQ/Zjk8Brchz8cI4UemLIHPuKyD+z
gsOXW0106Je8m7TbwyTWz7IZt1apbAOuqn0zswcOSgaXNct29QDBcHYpM9hOyLG1jhJQjWe95SX4
RbzKb6qb9Rd9eTOp9YdDb5EWBaejaj3oaeUDpd9VOUZuSzQINEltWqnL6X9yqg7LUs4z4+ocqas8
22Za8p4qsGxnq1z2pUzxgLCCSXdt5rhp1JDCDCEjmFktVVXd8jcwY2ie++i37d4ntyvXqtsS+G3X
j6Gtu/dJdyQcoEE+xJCuhE3v6RjV/SZlPjBOWbcjLCC9inxLO8vZEy9GISeNygsoRVSVHKwhoRU+
SYVzJ159AUq+scHtp6X9EYVJv9Ki5TVOswrexkOMzT8gHQrNkCX3esilaauYNa0q+6Eccg9dWCOC
Sh3Ix2BrsPlpbJqz/tLoBdpRA4IY7Np+03XcKkCGmoa2UIfHEubSAX/L8KsLCPf2bmiL6BWKloaN
NUarMMzUWCUEwSAYFKqvQcIGNIJdLKiz9YAknl4H90gw1xe4unBnVGa103tzM+bTLiYyrO7N8ZyN
F0ezpqMa5M7dcslUaWbeyeGeCDTkyjMKYcXqaKwW85IpNB1cLjb0SjHBVXrDxjxk971hMQClukWp
Hp6lTamvy2BLTxF8nmYrWxR+MYOGRRZHJmZTMLp3GKLYXXvL9aa8LuKMWevNXU5L3DH6x9QCGtFM
VUsgEFliIrLlTsuYWJu0sb0y61xfQ3ywoiOPq9diDtPSieESqD67sEyPEm4roza+DLwFsRgR5/BC
16+u9Z5Hnb0OKj3b2XmN6qKVr2FZnaZcfzONRYk4RsUqAZTMjZKDzmQ0p0xs0gM2UPA4xANWFVuB
VPMD6WpXwDFwBCb7HagEAp0lhmpOriGSpUHDPGM2nOTdYi8pXZR8CVZx79Ni+LDKdq+A0IciEZzJ
4PuB27ur62fO4Z92Q2pM0TMa1ffp6HwSQfIDLYvBwhttpesUT7t54Ljx3LjmsCo/htiEStZtZch0
33TP1KZXRRX7IABBBdJZynHXRHRPbQaYXaqcDYqIHhOaY+TLNGszReO2i0n9UNqtgp6wU7ptZ83P
pmxxGAHzUI2Itp3rrjVC1IRh3hvw5Yjmsj/Nfl47YXeSbfXAF0LpHgCj6Wi5c+uRnbYj6vEHY+6I
6LZ9CVpj0/QIxwBpH9MapWBHdhC8X0aDvXau1pVZPy9fpFcpKQvuTk7loUtGdAnBycmhYBdCeyi1
5tjqIoLTi0w4rtlpDfdIntNdSXoVV/ZvD/+L6QNqyWoD1pTBDkGVg9qDeSbNBE8J4PaHroRK0dyF
brXlin3swpuZqBty6HDjoDJZOr/i1hoGzE5+YG20O40ZCJCqo+TfzYFRTyKy51qku+XncqD2Uli7
o80ez2QKIPtDM6EUGLRiMyqR7jvSsj0yuFA8wkJQHHTYo9WsihoGaloityTMzh4JWomPMEr3ZUlu
YkTI0FTF5B8CFW/KfWhIWsoqraBZuFsT6/0MKS4XbfdVCiYaztK1cp8Hqftdob3Jtn0dUfoiyJJa
/cFQ4QnSX5ve24Gm00WtNuQAfynutJ+dd5gcL6QABF6VPxZ9fF+k7Xsr5IU2s4fl/hThSxYy2lVt
+Umf9Dbo+tlqKFjQHDgWdDbdnh4KyRBiKgxoJ/qrjenYmowlDmifDw9MA0D24YovCe8ozSUTCAGJ
ZvtmkT2aQ7aLrhVWQm8Oqo2SG9NaaRgsKMWeE1mGCFaBpFrSOYwrGuZEUm6C5qbo+a0NuFIqsAiN
Si5iZ5sgpqV7zQ8mNaVd9txOfXcUoeau8Egu+UPK/VAtN6R+q3udRFEUJSwRfZliElic3czx6/C+
Jd/Hqzr5kDvTozPnJ7uND1bab5JOx4xqXsaiO4i5uqr1dG10m/lyqezoFV5qG1UBxzArxjqnmCda
Ay8DSiVCt7xoNFFDC+OQt8ghUvUORY8NN2dtY5cFPnVvKf1rmw6EGqarYWh/VAMZrVKcXbraySwv
/KUnwS69mINVDcenbVzIlbqYov5J5WOj5bdaxXHX6jgNkRy122ak0JvhvTvOdxXWa8PQbq4VPilk
ncV2snZz90A4M+EVeCowMid5wDPAnkpy6K2Rzi40xOLJhHUjprchSv6WzCJDgZu1b62i3pPH+6F2
iBPyXWL2X2UY+6plPORlC42n/FQNczORK90M7aOjb6M0uxKojMcowGXOcYuINkfEdyWIdg6MT/yu
v5qJ9q8P3umjuo58tzt0ZSxwc2r5sDoem8z67iIV2ZDuPA25ICmn/XY75TPspkOB8KAMVCSA7inR
SoAfX6FOLmeCmHy5WEIzeSuT6qNzKN4icck7I/fy6BUCYNFqiDfUZtsMYi8ZloiyOlbDiPRzdCF3
mNz2sNvvsHpjBZt+9ZFbzq7VFyIdGAmbSwUMPtHWXrvOecqJ5msV9yIpJorKfB0NwiwntAjVcOnB
7FUZqpXko+A1Cdz0oS8jPyGQYBIl0ha32PYAKRVoQLnZP7BghIuVfK1UEmsUXlJL3qy0AYcdAdys
d2o3wdw0NozwPN0NHpIk2idg62G6nOEjnSMLhW5/ky4KsplfkcA3hrYtHiSWxZ091AjYanoISntU
xLt9odF4dZYhFc2xgd1nBAYbP8f1IhjKekTGffTd6OGmHsQ1TgPBsV0AB5BQTKmWagjfmoO7WPTp
fc3qmudtR2AacB9FfudZ8lxFTbINHdiVaUKWdzDeQYFmdUuVx4ZtkxlHdZ4aPJCqAVrAfp4rruqp
QkQcq5tmivalZl06965KMESZyIfbqnhrcbPbCJSZ8N1mIRiAoH2f1PvRpemEQj62mheY/He1QWyS
mUATzgVqoYzBoZhiRILjuEMzTEdu5kTMwkF3Aq8wIp5q7LZEkLxrpXWnpSsolAQ/Zde8Q5kIx1Tr
xmsxKNfczDHXtL6WcjSS5MukT2IsnwqrArswnHqCSifM+0lbvLrT/Jjk2oOolrCO6VzNqGbGQEfa
v8Q45QlHotL0J4lDain06mDelhwDhbXrWEysJMBXWW5p56xDFEZAnuq8e42MrZQNZzBxbxrI5O3i
NcqvCiPphOAzSDns5Ax1xnRHsM+qN161rKdMFseWa8RQrU1tBockal7VIXmEAtKIbcgaAe/2TOvx
QvIQt33ZPneU503cvjtWeKYAptIa0Y+ZgJqtO7PBX7h8r0KdThFdimKy5KqLlTsdDLFdfhMf4CfG
34Vvj+GOwolXJWvWoyl+VE60YdD/tqSbF62xTmcsm+70kmrjHTHSWxzhGKGPEsmQo9Y/0Gxb6AzM
Y8z5Be7IWQLnyGYgpIQKW5bN86ZUEyU+2kkCmm0pT8vrVffl22ANz67evTNOAsBj4kvLtn3pi7i6
16tkka7SU7Om5lxM35kIf+MEjbKafUB4gsbfkHjlGv19kHIUZu4er4NWRwIHt09LDPCufDWzM98S
PRW9EVxDBQj0GNxpendwEmTuiSRwTSnLh655mAOyhydithSFjbQnoUG2aKULBjvxBpoShrYQLApp
x8SkkLqybjJ0IUTZlHO9oaESr2qzB+E1qr5bjCbyzvEhEe+tOV45uVIwLY5Ae7ojL9t2i4eyXbxb
w/zaLK5Cu6wwXoR4m4orMTVvnV6mcGMHknfyb5BLB9n/hDUSvmZ4zgZLQM9VGL5O2XY0UOFJwPsc
J2Yca0l9bAL6CmCzNfQrPcSPEEeNpV/6RSnYDeWtbIdzybV8yEwO6KmsQbIPzkGYCOzzGLXwOFDV
lZM/1tbOnululyU1VkJ9ZDjObwazBfOBvmvdGf0qnBaSNuq1BbzMM4t2w6DUvXUC3Z8LTQi6D/rF
miP8Jq1CdNdmoHv9BFJGkjzDCcBzoJe6NifnzmGY0D4Q7YKdyAkj32zDXW9hq2ij8JETweeMqGZT
twmeyIGWeYi02m4i3TOcKD7rEQJcrRaPieXeAg2e7SiMmzWKa9uU6CMM5bl2ycJtw/BxJvBcBMVz
YGK6M7u0RcHVg0LqluzEKpXbLINdlukadXOBbJTBvWa7kW9pZD6mY/vcpyTRqZNNcGBgbOJC7hv2
rUZYr6bC0K/lqBdTy3lBEyICrO9NgkJWTUUild5jswvzZpOHONYaOJRMVZCBI9MIvcFxt3Xd8gzF
04Y2e3fxgspGhRrV+yYYjKcy+2LI8NGMeAnmFRi3p6Yix4i8yF2xeENyHIi6Ql4KK9qUbo3YtE6u
jazSWmY4IXo4r3CJe1Jr1IERwLKwxBhX5dzBeb83NQO3AbGZ+zTTiMnK672R1Q4mDhUbfDmdIPfY
vBqwmdwWWnSQBO/mSHmKPC9eKW1jbiMQv73kUjJSoZNZPghqKBu0mAxRc1r50SzTh6zPfohj3lUZ
yWiuxa/XWBiyMusWNfI3dxy2u5e8LDkBlJDtjSclEc9lpKs4sBRG31zJTcNYpHPgqk3aYp4pHTQ3
TufJkMzKsmCA2tikSHOxNfOI04vtKe/hAjDXlbmPAOqWJMaj1MrnaPJDcWvm6mhXuJsLx081Lllz
gGrXBuMbeorvWWwtJ99ZGVkwpRLgOhL7ucx+epUOL4qfXnN5BgmD9VJZPFcjCnLFnPa9Lo5VV3+y
xZ3VcZIrTeWEK5qxxR3fnEtNpwT/wrKoi9vsVJ+53q57R8HCObAwOWGyTYP2nvM1DpcuQ7u8tA4r
7BUuEVOhhi+jYh5GLgRSLsXwEW3F5i5zKh+Y9VoFdiVCw+t4CXJu4NzV95Khg1CU7Qh+eRDDW0Cu
ShTDnavSvbBMrP3aUxBb9OMUbc+WbSIrii+j02Mi0rud3iGbHuU3xypGV332YaXFOi1HRkVIQzBM
FG+aO+ydeaHRafdjEn+rIyrZqX4IE+NTb6ZzEqTUWoX8UqW5S53x2Yg5lNg26MX2SR3ZfdwGecSL
MYhoH7Dztp1FkD13Mi1pUGk07EDa+AQA0ZfFduZwuqhTbFPsiklgAKzXlU87VA9tUt2bRKLSBAHM
Li8MuV4suoUod+VPFDV3MV2/0blnhoJVEPGOgiCORG6Cl7JHPUdxExDTkUR3ZZ8dTSD4p7FT93SY
B06JWE7oV5NGG3arSrHgK0lGIVazpzn9DaFol8qQGHG5tuMCbiVamtLSz4TbfYTU9ysRmHdjOm7l
UG9CFX2hqu2lNf5kVgoArnsFWHvtlKb3ozx7CAmBtJLvqfgJEUyYBXWjgAtvYYu1c+1M6oSvGwry
PQRicuovjea6/CE4XBv5oQlVei28KU+LcVerCXFNg/PQEmUk7OrDkBy1XHWmjoFKMcxyuTjP4Yit
j2yQIyBMuc2r6keJwYMxU2xm/SLKCLi6/eYO7lOA2GU2IQfmZYx1e6QYaUAWKfnNUQRRLE33HAIr
JDl7Wz+h5MV/PDgrt4l2CMDgHMjyJytI7JboA7H2xlrHVFaEnt1peP9cAAFKisBTWJCzAtUmU315
4zbp+K/3/j5Ulg//43P/8eF/POzvEf/6fnG7TSdy7ltSV9vceiDqXNuoM09hUxPy/geHgbv8v9g7
r+W4lSyLfhE6Eh54Le/oKVLiC4KiyIRNIOGBr5+F0u3WnY6eiJn3ibiBW4YslqqANOfsvbYinEqi
ybfnRwUcZuUsWuErF+d668/hf/HYSPME9RtlEX9IMPQurJspxtCILADl6xIOEsxAoK6H693Q93Gd
zt9q0fXtOV3SRPJrqkcw+nLjxsQiiqiCRXEF2lyhNM5YBPP2erO6Rp5cb86teRc5mOWjYAk3+UPJ
MZbsk+tdo4k4WSPvYOdhuxcV/A634/1e3+bvm9mCzbneryYMggMlC78i8JYlXE0iZEn4vDn8dbg+
dr17fcIPZM/3/q+nm+WWT3bJmvliWIizpaBmyYOVenHGvqWjCSqHDhpqecdiYhMDCoMs1ifaqeib
l1t/DtfHCkMbx7DDlNbfR8bwi0AcnFh1SfBYkF0Ibx4Ovp38nGnf3Np+NrEAIIgdwZnaOOCsJ7ai
FN9ywRAXNNSqrOEzIxuBXSqHgH0PSEp9rsxp2oRE9E4zwyTq3QhcGG7jLDOjowzUXU/2JLQe4BG1
YHCd+luyMnC5uP4IT9T/MbrVxpRMguyWV+WIZqmf8hOR6Tfp7Ja3foE61Wp6xI4lISbgCI08+xIQ
gIiqdk5hN0y3wTg/BumQnSwnaklfkycx6Z81ES6HXkUZe2sSCAZ1SxZvh/tWh4yoHjHSjPgU57el
2x993UdY1vDSzFYJSz/jyywRtu7IQCblUeKIlIHR3JZTgUSzwUqfW+JoDOLBHsyGhPf6xixRjcxg
WCtrLo+sw1ffvCjP0ezidFCtfdtbtn07tZKr3x5PEfGUs119+UWWIMKcu9vCzTaFcm7qJPH2nNj3
STsGR9+0o0sGoDCq7AX9/2aGlFGCyvpsrLa4USXr95nmC5nGrc//02AkJaqc+FQzSAJ9XDNSh807
HmvMWnYJ+KeZ1d2cfJWd6676GsBbQHUx7UW2bT2+FZeQU0Rd7UwUVKFuYx+rqTCe6S6NN+6M6iyu
cloqlNvUbI673qwJJm8t/yanIn1DjfQoE/VoSe1TytLTxTsAn/4i/mQ902IjSghZuLJmuaGS124m
JiaWquSpZQgAaaRS7zcrtptxMd2a6AonFU6XZHkn9J5gn1gsb0zhK3hhQbcfPcm30o3tOqyKmpko
zG8JpvvOfCcOlOmeWYDAROBLpKOE0oSGCh6b5adixZmVaczX18d+P319xi38GBlkyQdznpODqgik
L4biFeb1r86bLyXk2ZVMyyenRvHo1LdR7GGsjZDhrhtjfCfb81N06fNUgGcpJhQV+jyM5nPSYhlu
HfOlxMGxMsLqDYEg5ZuZqqyeH4e57wiPw4FrCEyfrBRNb7iUNGAOgDG0zk9Eb10aFHhAhHG24iJJ
lnwZH4prInqXINT+1SmtQ5+1DU5rC8JHBL4mjgGjRKxTfSN8JJwUU1xCdLUKMHY4Zk+MFQCGMXgY
Ekk/aZjutdlUFLRObG+BcWILC1r3ZYiGm2DKfgywpGuPjafwmnuzQDpjkslzoLXNsmQMAT8TQTKk
eINcu7orQFLQRu3tTR9a9FKy5KlKok3eUbbqffygtkJxSPH7Y9AswvxCvHUw4wu/CLf4WnpSvM9B
gBktmu0vl70dCeZOQQrB+BglTB0TaZSpKxtcP+bR9O6jXgLYc5OdYZXjecjmYD0W/ffOsx+d+XGO
OW3iWt53hpVf0hDNRj5Ga8sCS9SXZ/hKIyvIW1G0IwMhnoUZI6vujdcIuTftO0VvNysPtQuMNOJy
yvoajKSzHdJH171lxH8OW0V12FffprrYGJN90RrGS+d6D4RXH6s2/XDM+6GHAZME9CzKgKxsFB9Z
6U079KzIHMZPVZXhsaZDcm/A9dxUHS01YVlns9zZnqwOs4yyjcs+Dw1IejfPeKKKgY8hn/ZYti8i
ZUXZWMeORtioTFy5bYh+VAEIwIAAghx5cWJyUpYz0gxBGmEy3JTy7LOKg5GB3jUvMr2lQAF/otCf
vnR++n4EyYBepehsapJp+IRoejwgYsYGrVzzrOV7H5vWa+dScHGbU+H78ph0o72ZMuPVNG4167Oq
RIHi1PpXrk2G6f5UVvGXSX4dyBbi7ev8nhjmCmE5O2OJVsxIcFRFYlWXbKANbIF5zQwcN0BpWEo2
NgRRl5ad5Sc4zOvOXNcjlQj03O9p0FKpr0hgisg6lCEdcvkraDx19pVCqsbmB3SvXd6NlBNW1hQc
fG/WB3a76rFuqm8opn72TvqJf952XHfXWxOO4FkeGHed+4IPq3Ap6ikLuR47fvoB47eggrpMgrlP
7YyA2neBk2WnKS+3uCG2kw6BArbjnRmP3VZ7NB91hC4wy2z34r7Hhj3vXHaUfN13lTTdH5Frfup4
vvOSwjoqr4basViq6dCv6jiE1TaQvxySHbfyMBCMFD3iqZJ0NPEfFuAVNrFdhciAMNsPBKBsyJ+B
gQMcJWfruTUsvLEqoj9T+xO5Ws2H1au9NPL52UB0zYgUn6Sp8MgB5pPCfIpd1swW2VQI5BfHfqcP
cUsSUpSrz5HI6VWTTmyHGdko6Xo3qYtEp4wu+GhuHVmhfAN7v3Kb2qF3hvbLjcnatuq3bhLh3qvq
B8qymH8C8y6hKYWt4zHPYCHYdCq2oZCP9KwPVIYC2CQY+Jq2Esc0rmbCb7viEFYsXAIXp1KZ49Fo
xuFk292Xp+eXYlA9r+2dXM+6wDlPXzARxE7zS479s0Z7wEINafYgoi3pr/tuydqIZbDTUlN9hnnC
aOOA+5uoA0vzZ22Mwwrn0uIz8T5LKsAwH/xhO1rtbhThL9Giyew7Y2D9Iz4iDa/A9quDo5wAJiwa
xyKnPBGxpU48LXZaHTP+Zeu6DevtFJjR2ZCfqoHIxZiHp90g9jZh3t2hW4dHGxvBTUx+082UGxtz
cPy1mCNQIUWSHQR0ZVrFtnEQftNtZIBxvFViOPmKWk3Fl+g3N8jwRxjD/S3Vl3zvduh0xABCR+vs
Z96Rhe40kQdQEylXP1e52hVeWm/8lnefGUmK9EDiKCxfR5KAz78fWR6e62UXED/bNv9CJbpuHSEO
O3u1ZqqSVQO8pNavv++iOdnXjjkcpmhArJ94NBeXxd8k6VhkMZmZ3PIoIh96N91ObkzYah4i4bze
nGsKzkWOsNxW5oua/ZbOIT9yPfg9JsBUdd+51x7EEKPREPm5kUgj4uVWAjrdawubMAlrwyWojqLC
a1Q1+H8So8awjBeB3rTnaQYVrwLlPuEZcekL++P8NhWgk2ISmc4M7mdI5jAQKutS8a8/18tBG9Gw
i13j9fpQFgcA/Ip8QZnieDgOTZEcteFuvcYKD4FsdqiZm/P10A8RGfYVUXCA6g+W1xgbv/YYvVQq
TkOOCSCnDLLJR4tSVY/hd3L3km8cPaCBDEvxA2laQCwi7PcMkL08oy0hD5chkPO6+Al32mDqImAh
CW67Gr9OVYxoRXQKO0NkzRm5o9h0NVKBIuH0cQVKvESOydmWZcJ7TD/YtnI+oCI9D2xPEO3TuEhB
YOQggY/Ut2lPOVN1prZQnVvRoeioYObbNpH2c5jpc18JvaG6EFJ57PTZGkEWlq28tCmro66Q9Zmg
bGICiKdidJE0Qq4P+il0IYExLkhCMiJgPWwDBU3KJ5A6CxxqO9c/mFBx0+6pHO3y3C8fghxpGHRN
cqNl2B3rRGyu7z2l/HS+3moT5tYuZRHVTPWdwsnyUPdcaWb9YUkBCJOeb24lBE71/rEtIfAIPZxj
xwlXumI9Y8zdXVvwBhIxfrdowW+A6V5AFYOxEnB4mLbftEcFrNFYBmEn4luzPBLt5W4euvyGtna1
CYJdiU5I4sxZ+wHVJG/EuhXJZuUOw4hUAmpVLfAvPjiP0cBaD2f6PonBYfTNS1oghDbAwBcVkst+
Vpy1DQVz8uW//t8O8b9J2LFtYeEX+J/tEM+fSn02zefn3zN2/vqtfxoizH94ru8LkrWQpLgYG/6V
sRNidTBd2/cstKd2wPGPIcL7hxeYguQxwplMYbrEYf3TIOH8IwxsL8TYELgBew7n/+SQEBZv4L9n
QJH+4+HYEKaNvDRcbBl/z7DyiWs3FjXAMUYkhY4WGDKRIUgJHbs9tuKlW+oZpW2RazsL8B+GBqTF
WU1p418HDAcUNNprQWN5cDTi5m9PX5+4PqY65ASArKmV+DRKFmv7NfmUyZ3l/O/Y2uvNwAZyudRe
1FKFAegMwg0/u79giv+k03aJoICDyW5CgmrfXQNR6Z4srMGlOjMQqzJvrzf1Ul/KnLSASG9j2Std
o955GkB4PBhH7XjoXTFDbZ0ge3Gpxq10gWLeBZnVzmcs95A0IIiz8cx7lCEDOfAWcAmfJWWCOGxV
NAjCk1CzHwytXRbLdxpBzFpj9a02bZTLmf9h3NmO+FFMXnw7WdRq45HYBcS+h9iAhVZ0ToNMKL9r
RX8/LFqxHM0CTVyoIJNRE/oBaL4D1BX3ksxJmtbCktAbHHz0y0jdwnsjmTvaCAR6VW2fp1FS5g5Q
n9M+uPFlnpwNu3sY8wZ3RuuunT19v3lnDd8yrCg09xlyBzbcaIN2VuG8Ci9/bkh63noRvZ+EPT/L
P/Kmi+KB1T9NVqwQa8eo3F0QPgXS7AnhI01hNoPvaiYEsqpp9Ee0IFnjXaaeQhLbRdYnE3ytpGkW
Yn2IdrAu6BLodNu2YKXE/M2IcTmkP3JKySqZqfKio2apbG4yuzd34YxunlArmqizXg2BYa46f7iQ
K/5U+KZzEEmNija5w3QA1N9ExSnBdOcm7gErYBuRxsGN01TjwXHML0NB8lWJFZ50Xt1TodAPVnZy
e4pCLLHwEni0gAnJ2gUFGBM5WaxeTbOj1j0/+mFT7+JGAVEMmATy8CxbdCRjTdOks8cfVlJJNKqJ
ieQJ256KvJ/D8iredJOl43cVaRSgCR19O5jfkshK4A7N6+uFMj81rGNxXYz3QlWQKV1qruzSALTF
zodsvQkPs59tcp/TJkqro0qUtScoAKcCfrzWImjCyfY16YxrQwwLfwjFGLUX3LuApch5QcwM6iUG
MughlD7I3t4GLdkXAl+SWw/HGVpQVXvjJTFIC40eQis7ugunia382qvdJyvpWTECzpnm8qGFDQGH
BY1IhyqAYW1X1QT4xPZMDUpszajSa9uwEhqszaOqh24zjWAixwwHN2Lh1CBTg09DeapZpaSnbsdy
0cyxSTRk9lwLW20T6gBiPmjH+ZVYnV4XWeEevFJczFbSXHXIiRjRp6MlLH9ydoD17ga0PwlMn0mW
YF/0hKgiXFkItFecxZskqb/3VHTPTo6xlcRsE2hOlCnA5EtSSDvhlWjp95TlSEz2DNF5kfpZQYaQ
hlynOTzkNrk2YCj2noAswgn0UALwrabpe0OowKp2bGs7LW9Mo+JA4MDueo5lcyyc58L03gjXwS68
S1yxwVP95jUIq5UZDyQg9QHcmOHGtv3PzvXbgxdAySHQlcKs5ZQAq5tXZOMF5du+gb0yM0J1i0BN
nKOQXBvWmasK6pgD/4Qqbtgj2oSov08F7fU4DPGdWovouwbC4w/mLz0dacR+zzAnrc3KTg8MIPvc
4dKIY3rWMamcyx8pEdPPKJBYaXktbYgbYRrUCcfave+E8yvHaFNK2DbJeD/2xM5OuUPUT13LI+GW
0RjKl8Z3EbJNFA7oph9rzjHRTR7Bgph1Yws25kQFat+nOByQ37khgWNDLz6sjHuFkO/SWNeJQ8s8
Q+NATysochxU8eMkyd2wYkbOXiDYdn2sBPlWNhVnY2xPjB4JPCrvxR7pAo2JoWiPynxNNcQCIAuT
FPDC2lC+hP0NrG4e9BGtMZTyCJ1moofoTHO9V2iV3QEhez8En87I8EKkY36YQq7z6thNffaWe9Df
6JepoC6+u86XUeh2beJ7Xrd5coxKWIFl9RUgnjllUX8warM7wG94Hgsi2UajrsE1E/TMotS7p50B
ZIuQ3MyIjrPJuInVS1MopxL2QpWh34yZaUD/GNSmVDi9OKv7HaIdwAfmVi5ZKv7jYq2ojQgSpwm6
a3AppAEiGI5qYp9TmEV/mdOfc0XfLLNb94wQuPCst77Xb3ZNVpljdg0pDcgjBZvPVZiqn2M4vI8g
WYukgJo43hU97h5bhEh1dHO2wzvhQ+aYVAZjwYp+1KUgyjXumGVi8xghEXNdOA9OSxUmt2ck6MQ/
7es8PiC5wTMs5+LeqIiYFdRXImEhTvXRKMeT1yFLqE/heG5MLkl7JOu3jtOHaUQl3yxMA7kzWINs
qhkrOYrOPVgJquwuKvAGCa9NbB+nMBwBm9V+PIhVmcXPumAuIqE4ot5eNOtMMWgM2Zcre4Uq1s7X
E01D6DeddUQ56VSHsEcfhZ1hFUzTnubdayCgylWa/jepvqxf1JcKPYMSJJpPFSMaUEwqspnupmx+
rr2m3dHFnC7ESiE1R1OeQCt4JCZqmxqze87i+cw4fZt4ldy5tkZbTe1kEt6tke76Jh/3RiOwjCPg
b+mNb8miMtaNwg2De/3RMNxD6OpspUprtyxfTuVStpIFZCVx6yv3iSvnuwjyidjzatzXWXwKWc/8
PmQsJLImXeoyj5UbbGC2IBuLAZU5PUU0HZcYvKCOFXooj8UcilO5HOzYeiuY0rGABDdjp5DRZgzq
c5Y/xFXFmReHb31cAGKlcjpK3JlsNUfGOkdTEyncZ9FTpouj6YcI+nQ7OOHGCGIqJMjsLIy36r1K
0u7UOay++sygFI9M81Fkab8jvRQQoUehEZyKpi0AD0PvovBXNDUYvkyaDUloJkgmA/apo8Kya/xk
zEdsYWjE8b27k5qh3zMcKuQDBt6MUt0GOMlE2zMo186UcpoCsrYSNI1u86CSjNRFIz8CSxRuTyLH
Mn6nA5vc2hrLE14KjTKHXJmlUzeQXkHnoAetGJGuuxlsVtWZ/ehRscbO4NtMEjTvRBzJo+JvUnsV
p6ItsX4ZXHl7D9EUSXaY6HMTkQDrWVBFz+gqgabUyQ0WqvHk21a/Jzn7JL0YT8UY37EFHk6TY9Fv
ngiRjNPcOpT4+Vp2yCenyzXg8uBRNS3CwORpil9kjWZMdH25vr4dL2yXETZGn1XgUu6R2JtQBOMx
yk5pba2VZ1knNeGTJo+HNWFo5TvsrM/pNWNlYiW960bjhk2/C1qfgkWEJPyaRiIrpEBigotognfR
rtFuM4KgjpRi1kiV8RJoMwJcgZwesxbVggT2Yxx1sDCTTp9i29KnAvxmE31LZxbLjQOLhItE2AGI
FxuDXixebKonO8AVfUx7eGgAWnTUCEHhOe0iAN/OiPB3be19pwKDPEKxxY5DB+5wLme8u8Lb+sTX
FEnd7OccYKDRNSefdVRbcEpJ9aYRkKfB55AwXsSivAXBQOiTlZ8gz3wbJelYOntOtGGte/KnTl1D
b81OvfcwMWZ0uxSrwoBvXkyR3iQDcs+Sy8mU+cscdiZv3FnLIvzOOjDehVYKG9JLaA8QDm71n30W
GVvgXegcB8RL8Vc75mezK+1TBSApsOyjbO3p5CybCKc0drHXuGuEMOgry6lnNUo2n1ps2JxGrkNg
hRKswURV+Rs1Zg+GJpDJLQgVQdB4MJCgnKK8BPnY94RlqAahWvhYY1c64eciOFN+5H6AZj+ai52l
1Qt6bhv5y2yGSKvlITFwSRsyrteBdpu9zcbNGWJ75+fVD1YUQEkKBhvf2bQtIglNK2JVFzMyq1F9
Q8xb7TzUi9XUn5NEP/VDnO/Lzu/PRjCupzkwj1OHLC83Tk3SvrN6eAEOknBZNWc3HNdhB3W5IF91
iKeTRU7sKgsrveli1zl1VM8SnY+Hxu3GrfKJIqROZ50MrFVHv3xNkDST5bxoVpaL2hmKB0uDRg3H
kF7lchZatYFNnKi5/ZhTd40kagm/ByGrOd0ruPYFla617PILSUEMHZj+GVZAz1NF4+oOUiggGHYP
UQtjJJyQrdUhcOWuSPbsrG6SaMCceF+4ZCUPFCzXvi2fy0l6uzZtybguZu/YYu43lvIgKXXFLoz9
F+nbJkSYmQFvIby5+oxbCsuxomuQ8Le7Cm10N6VHSdLSqmzCF50AUUJARfbCcppPsQAujy9jG3o/
/MR6g20D9mOqLqkFmIaa+tau53MuASkNLqbmaq7BBMBUrQVLat8d8W0NF53BCYmdt0KhBrNKAud0
8FUs5eXrQaDIWvoy9sNQzJyjy97VWaqM10NedS99Scl4WGrM14e0h+Dajnsw8Msh8nw6z6STXoSw
rov07WybD0ykzcnUsj3ZWWdujVa/u/YcrkK66evRICdMzJjcCqxspwQtLIAHcrJWGdnXAyUJr3Da
XQwrcZ0but+1rxTozVNEc+2U6ML9fSsbvDV1VUZr5iHwmvQztlIJxIQGWkASo4xNK4fu0ADwboEP
nbSj70Ml473wtA96CxiyDsNTvzz353B9LE9RAkkDaUS4/Igui+jkpemjMj1/h1g/O9nJg+UUyPRU
NH041F7WUxdAdC4zJlDynW61IeU+9gQzc+jDItB055CyYw6pg2ALuu/7AN+FuSFECVDSTzMT8VkB
w7d/VB21giILMFjldczJDCiJrZg+UYJCh7McomWWNGNWu6lu59P1gCQdpGcHyqjxCoYNWJQjWPjT
9WDMD5oGzvE6rf15GKR05XINTYUrTmI5zF31jPEdi3PQERiROO9Rk0msnNZwnn1OqnRm8J05R7Gt
I62Ys+GsvL4od51K1RbqDB5xL9+Fqj9izyFBMdwxBkAeKGA12OTM3l8PhSF+YuN/clu/Wbeh+Q0l
QsfESf4oZekpS5NzWbuIDK222tf4VkYWpfsmhWRkaPJbOPNomKOPsTPToc+KKAT/AL0h+WNUj9iC
VLeEHKoSaQPS7HenR5VHMG1zjuaI6NPaf6oqlgaChkxMS6ZRkXsfkeZ3hPX0q60xwYYokJMKXKd2
ZgwjYzptvSyjc8gq4hmY9dn1UQ+jx26wwdO0ra23WeBaycLuh2pSfP/8V6X2a1OhknMsuqejnZTn
TKAYUCDn6MwPqKLFeHQd97PtcmJSi/DgdmLajba/x3I9HqK4HB9nzF8z/vKoKMwPSu4nigKvk1XY
j5hekFulytlYkj7hgE6VzROOoET/EmEwb5KZrWVJ7iy1wrSnYRAe3UUg0ouW4DDkFqsiGMJLUv00
h9w+V3djXjiP7EDwnZbFsKsTtNoxI2I5zdUxxX69Qe9ZgEXvYLFI1hOw3rB5Dn63Z3e7QW6vD1lU
44+PxugiHfrxw/s0xtmbhXGiFS18+dF+BhTzHrzmOLBumRWJfmpd85mGDQ3TRRW6hPhUyEIubT6T
5mEAJfenJrzEZeagICL2sS7sTSjJvya86FRVLtkmVTbtfSAvMSkSnpsO+5nlCBuQwNjmTfRczhOr
WMECI/Wd8UY3zbS1W68npG/4mRtJc4dY/DUuA2cdm8uEawjqqqH0AfkzmV4n4Wsc2oQE5iCp9oNE
M9dRaA4YOhn+s96bT0HdtbvSSJ+vD7EWmk73Og876locpqnrTymmHxoakMOuujKIKwA0lwMQrk3Y
uFx8qJBhf2Tr0uQEzE1BNw0wcLaM3HUfYkix491VP3dVAk5WjYlHDr8fsq5F18ryvrXYlWht9UTq
LQeUigwgnt6VoC1BzzLj6Pi+SUoSX5enULhWp4btGckm6FGZOUeCu1B8AVZc5H/5Vea3HHAigCzn
9BWiB7HsxUAPaVRNp+uiB7/mX7dwcsPspj943emUbGuI1zRxowAIHjlRPNP8Zeog3ldJgR/QC+Fg
VOHZQkVSlj0Fw5CyCsZEyi2TSg+V5Mvrx9xjlUtzjn8eRRFssWLCih7RJveM+9EkwQmTq7mZqRes
AE589ghFz5MTIF9JgTxH9FNXQ7fNy8dYpkhrhv7Eq8NPjrJnb7YR5PpUjxOrSFd2ZNJFJ+w61fyt
XjsmB8Dvloy2feTBVJ+IWeNsrTY5EdILBXATkxgHAS2Y47ug3Va0vfcljTV84CViMULe6wiCQLUM
NfK+s/37tHewGhI+mmsMvn7qP2Yy/aKolWH3OmXjuKtiUeNgQSM7Vf23LC0O7NkkfWryG2lrwEfn
K1jVxpSB48EPFCCf29XptzyxP7E2APtMkHkPEkueFd11ctxnYUalp4EXUYeo+iguMjz2u1EzRftL
0D3fUmbah9CAxk51sUdLEiHG7ejohyYRc3Yw0QRM+LD9mfxHHyQDMPGk25Fx4wzBJXOEt+lm/yfu
02Mb5pcC1hotDf754fzqDv4pzbbaGrM7PBDU6DzT3VQNanaB8IIiL5lagsVN5vHb3TKGzfO5m0yS
KLr5aTSJOmTxCkouoXrdEPuQa7u6WFlBadNIzbuSJJ8CdaYQQXKx+XBgUjGUexZxqXjaYTnoG28R
2Bjp54hsJ0ZbfhnpB6ztunhLhtA9WEU0kUq1pMHNt2ZjnCc7ABPbGk8U+p+2OqL/Upnfe3Tdx2UZ
q4Z3we4avbdoHos5+S5ZFT02gORo0WCqcNqCgjPLwSSXT2wEUvumnciflkm85LWjJI2Y8WA2EOJb
PHuWhFs6bvumjW/AH2SYaxyyjtL1WEo8dJ714WtoFH77osLcW+WF/43Wz4vrANKNO8fZ+22O95hS
SOihUqLcfKtlgAlquNJ2zJT9nH9skAodVGTe5CmzmTIyCIYCN/T42qWJfzRMfK5BvjO9KdygNaT2
CBpH9y6mxW4gcnjEPxKYkAXIfoqNFMaS6z1aFg2BpCejUUiCC03vxqMU1zTgoHNcJaeCdAJV5NFD
Ft10uEBRuAECFnRNRASJafLgG0wGRPJhcLeGm5H5ZLaEMtHqKUI73Fj2pxG2v0A73VqqJODNKNGQ
WT9kfB8T7kteUb+iagh2muUBAhdwk/hqKB57qMgbEtELe2lvD1uf9GJCbmfNh4XTu41OgVG/ubXz
NX4ouoSrXKobYxLupZDxq0o/2KkSZ4Y/Z9tmnN2Y+oVnsWWr7qfEtmmvU7UiJW4smuq5QT5s+POT
dgX9dXxPjnSgwCZvJUit3Th4EYCL76kJp8uc7F3boGxJMzQwXU7EQOZtREUyVo9ngRkYz5MUtrmJ
KLMAWQjcIt3U1vcyTftNmtnfnNb6mdiq2upBIMyayxdVUCo3O2ITkJid664ud/h3WCpTTVST+TxT
Dq+nnYy45qrOeY6SEHAihkSsGc+Z0wH1Sme18XoWP0UY7OJ0AtyRqHeJyqqvXOJu4npe23RO1qZ+
9CmMDKx6mtYmL1LhLUuYsBzaQwk6ObUoOH3jUYiofYod67Wcwh+KWCaqbnG4bxnSm9i7taLkS6YO
WJABn0hQQYXFFkfPSDEbxaygUgm7vgmKnquftQccNuJn6Slsrcw4dgN143BKQW3YJe6f0iXLyAwl
2R/gs/LE+NnAM3CjaFOhbdilSYX4eUQ0GNROsvJBtbjGBxc7aljB16jASsbCYnO9wFOsOzKKepMr
TaffNPuzlVdXJTxfmhWNNF/8HHkWe2Z889VFKvfoJONSwMP765T1JQvJlBzyHWuaO3Sz2zqvvbWw
oa949c3M7o4PInvSlf1l1fOBzhrv34c/67fA82N0E4XOb+LnDLthN5w9V9EB0h4fQ8hL9HGlbxCW
r0jYfhNIhVdG0r7SRHDX2rbuUoqDAGaNs3ZxJDszhgebeJI8hwQRx+WKCb4gXqT0d4hRXKTYFbr2
DVc9dBIiGHxlb0dl0xnU5a7Pww+MV3wyc+XdyHQ+9ssF1VAjihbWLo5oX1dsB1yw/BnzRONR6lXM
lyvXkmQCjuxBp65hDyT8beAFm0FFOD89eg6VWne5/0Z1k8A/EhdxXa7GAdl1KJ6T0qcdlPvsIVgk
SvsjmdpzNpXiyFizmUcst4IeUejLbfDL35uqABCofAz26VIyIuGgGFJYyeRyW+k7HTaMvy3mb6r3
Lirf9Al2DsmXfvbYT5xiYqRhp7ik0fFMCtCdQvSlMijSzfjs+OWpKIABBxoI5hjTgYwrVC1NC607
jRlU/aDckWqUtMF6pm90kli/cj+qcRSzrhQs1/VYHFj9ftc5SqPcQiype/MmocE55Ord+Ujd3L61
qh7EHC4gmNzOETXveh58b4skwSN7uCm37hgAGQuaL8YYdMnCX9RA/bmVdBdGxoy92VN5jeduGxTh
z5ISlT/TCk4HKAh+cEsv14OTS+mw7J0yD/Y4s2Li1AC6/zn4yzI4XbKA/+2xP3eN2SRpie2YXGvs
8njiYNOjs5eI65abydUaQhUBVv8QVVDEFr8JM1t5shfbyt9+vo4s+t/kN1fXX7/+zN9u/n655TUB
xAHrt7g8zOUlYMTcmbMJ0fz6B5fD9Xf/3P39Jv78vb+99PWH/vz47783DQSeS3NmqI5SMOrLXxmW
ao5cXnxwU5QN1z9terEJp4bQnUJa38RsJ3vsXgoscvtBUWw6dG2VEQ0clAfMy+m2Sr0PbyKBt3/F
1MpsaBNLOMUYLHzk21r9WFIA3uKcYRrB/wXmsXswMDJQHmJXEg4hq6F/v6l00Zx0wAan7bq3aKkX
sn7665AGHoqQ631UB6GJyJSnYFURSHe92Qg/PRULqBjEQVmc//356+v5ior171ch8Lv52+t7VvrP
V7r+ZggBYwV8j5Uzc/Dvh5a/+Odt/X6tP/f/08/8p8cco8WG0ez1UkB3lwTqgVLjyncme3O9Gy/n
afOvZ6+3ro9dn73evR6uL/Dn7n/63f/0UpByB9ZtfBf10hz5L/bOY7l5dduu7+I+biERoeEOMpiD
GMQOShFEIkFk8Ok9oHNc+9plu+y+a5/SoahfFInwhbXmHJNGG3WlyfTDp6UGOH3/v3xSKSv2HP/8
/DH9EuKx//5Lf9///VhDjxe3Rog9pJ8jpAYx1E4PowdEkH89/PvR3xfwN5TIhPCfX/+f/sTft8pk
UPr/KrT/GxWapOLx+T+p0MLvj9vjPyvQ/v0b/1agSZL0H6Kq8B8KNFHTVGRm/U/d/Nf/IiCu/w9c
R9JMlU3N0NG6/RvIq5r/IYqiydiNzAzFkoRo7N/6M1X6D9OcmZooI2czZ7qo/L/oz3RJlv9H/RnK
ZFGhr6KhapNUSTHE/1F/hlHsyXQVaWtpTMllI0ihvyUxruEXESxlktPyy2+wCv6+lAnLWC2+gafR
yTiWkhoo2PTw70taA+eqUziW/0jTXpMU7R892mNIGcruOblfvZwEylTJ//vS4t+YJ1N1/z89JxAW
GEdoU7OY2yabKqLJ9OXvkVwPPElxFRWOHj3xV9DfK1OdQu7fw4gCrN13OlXDx5niL7k0QgXNbBIk
6zMD/QpkXRVWpNk81zTWwS/eCvinBoWzWocCYalTG1GbiiyNUaxudcFMOzADmDjTlKallnOHpw6i
LqzH7NO8a/h+pgL3bSpwj/2tmwudJHlPud4KNHzmVXNv56qg016NnyXCCaXzBJ33FKfGsR1NevYa
igfxESryCyBKzc0+m4q/w8ukQPP3sK5qHsq4CeeKNDgZyung733+yWj+HiUsnEJ2+c+pp/b3RXo9
KYL3yWbo6keQVGMQ4x+d0316Th7hZxwRbApJg5SAjn0fydUfaZItbvDPxIawShluewlMLozjnmQG
fQjZ1xzgiT8d+GgkwTzvtNqS+1zqFdVGpY+EZpo7//nyN4H+8+04TarOvU/Jn5NaL5sKTH9faLHS
pJ2+1afy098j2ZD/JUE0J/Xh3zv/+/InRvx7TngBuR8KFeN1BxP+7/00bJO8OPNlsh8Pryl6jz6D
jjk+Tu3nTmH9CrnSeh7l2UFHE/ldiQ7FSvhtjwZgiddQdRI8KowNEXSRf7MFuygB2n40TfAUDjSk
0D3ueWS2vjkFE5Jp8CKAAmqziBKmt3pqhdqi1heZtHpyyZPsRX3Kqs7koqI3mBFzatdZ2IEDwOpT
vzbKAAPm+4GeDygLaqeKpeeIpAnCZjO/oaqwn4uBuoKINNtiLxuMXfj6FI83hIMvoLFWQl+eLY1l
slDEaqcvwCxDBGG9RwgEEsYXyXQq+xQodnP17mo/6RaHMQ1m0q+eNKcQcRHifLgflNTTTkg+ZKw1
Eqg0SjKwBiAqOIk6z3s/LfiswP7M4EmCG5ZbKq5IFHS7itel+Vl+Fy7Kum7TvSU77YTuy4zdZtkc
UK9xJKBqwpJuffVpyzQd5NU4EaUsqv+7ElnjnufLd1C+7kcW0hpcCOtiwHtvle9QWcCU5JjnOgtb
O+DXVLXpM7xslpbqvCYYrPPHZAsx8A6S4afVrL76Sgtbx4DErisL2Ze8vmgAZA3AFouj2xCuDFDa
tMWPElgq4KHcrdfDDZeEPcgk2M/ZPrV7QhDuW/monAv6+jPGEAvSWRo79Y6YCrA75SGasy2qXHLm
qD/TPtG4N/elEUDbw+6fsL0owBG4+UFb0i9qzvdP/Xg/mW6+IYtSoyzRLszq3WRPGoCGEjiLaDkj
H/tfS449I1L3pcs2rHTDT1aIIsTt+HTIz4TqabwpS+FCGYsPw2Wrfqg/wxtYApwc8zJsICHYXYLn
yOlkJ/9+1F7M7RD56VdB5Y1osNQpVrLCSBGoJwjCfyFd7S57HLrl8zRs5SvQierClqQ3bS62bklZ
iZOKxScHfEa+FxwOts7uLPdkcCCE4+mLhmRbunXXauEmIV39B+mC6E0IRB9gmYKmxmbqNjv15rx+
zTnAQHqVnlETIJvNtV/zCzvLov5Rv5X57CP5NneMOyNppocY8CK7StIljhHws84i40F8LMptDfAI
tdcZd+PTNufYTmE+gLNWN/cgCrsNO7qS6YB8wJdVf8gfBamNeWBwPRRembi3byIP0IeWzne3om7T
reBraWd1idAC2EO3QqvpyoUD1jsjTdyKLklkpS7VNsrlUDQXjVO9PVeIlWmedBPiKjB+7y9vPIkv
944rr7nUyjtjB/VF+p6D9q1CftD3s5vLg4p2Vih/jC+bjRO3FFMuLzeg5Hq51TtgOuh534SXaPQM
LSg4e+lG08CtP0BHedLn48dkCAUmGKDnw7jQMURRa7yMx9kyJuSU28AnNDHsscvB6rRnx+T99bR7
7+EzWvbXLvVeYblNm0BCiRH5nMtb7UTRWhTD8i2aS5F/b4J8K3whmeL89oLLqefeu78NN4c/iLiU
vzMs21P0CsFOiZOTlWquZ/A5HkRFUmi2hGExa205C+5MdIw7pLC/QYvsoFQJLvmjGUxrwmVcqhMK
nv+UlpKr7bi9d4Qefd5S2/yK95TrZhtdZQBRfgyoz1Ms36T7vTy6Y/pcZWBMDqBLkHbzMmw7AbWO
wlIXrjX9AuzSj3pZfUmH5hKtTOyN4zZDzUvo+akX/YK8axqIZRU82NSr3qPwG+k0lhSUd/Ww0cVf
uLctmC0iYxhtCzdSFxq85vynQLUJzBfi2m64lAkQc5uPrR9eh6i7yvXPBMrk7kWjLuuewi1UWjmx
MOm9tLRiy2uosUn9wYUqyGCh36YhI24o3lsphh2TM+Pk0fXWnVVQ/FDyYaX/5iH/QV3yosHlgzH+
iz5rs/nti/xcyXqD+LOL80umrogW4O029mvVh3Z0YfeJdZmpb0FXEoU2yUtD/NVpJNFSEQrv2FBb
DwafXAQv0ZMfrnTbPqqFkLjw47ve5+2h/qzR2xeh9Fhl6EVRc6FcCBtnMj1ZZNrAePHILBEctd7p
2QAgeZG9m3Nlnu61xRioa2Xz2kRHY84VTbDkQrjoRNkyxGRwZchtuPAWMCRXNcgyh4b4nTTTOnfy
FDlzAPD/TrA5TcrZXLrb0T53+zeKL47imUwPIajNBPoMlLpmnQ1Au1dYzccFbBTvhPCSMzj7lm5f
6s2L5GCYoCXojB3irYyK5VcfITq3XslC2xNlk9A9Fu0nQFkEzHeK/ywigwF9NI7f1H9KLrtd+en3
6dtrKoCtpC7oVOpoVL/RtNoyCY75Dnx13FoZ+lmurj0D0XF6KQrbG5oUBqtbywxJx3g61VHYqk9/
Upgx9WqQNODfWelPku3k1OYhaOz76FOKxpooIylFFNU6mebD3MM0TEJvqizM7KT3gUyBBx02MpEv
9VyuzPfCsO47niWEAEXtYiAng5WGbZyfJbVUWGc4t6xxOfjGp3qGprzM9yMdv2k4bX4JNSR5xwzB
6PtN63S+7Ji+4t6vzU7wux25rltBmrdhvekXyvsz2GnAXH+q67DGwGBsUKDz/7eFGtx9DQRGi2hv
VTjZRQRQ9VY9qPXbpJS1iLWtEVAnmY4HBHE1aDuWqyZ7hRAiUpedlC2m9SpGEoifjjKiVfnip/ku
nlsEor1bHcnywHFKGKFTH8YFayXeBV0tazb6reYjB8/nmL80O92pi3w3nvtzdeT488eSdlHuBPL6
1kwceL5tQsLe+jdsgFyxpfMqKaXbr3x9n+sn6fj6uQ2ukgTFffU6VnO2AX3pNNyDtJu/2m35oXoV
+sfJHsw15IhgYfHcwJXZt2F8EN70by6cypeOIrGwiT07SYpPjV1sSN1zNPFsvA4NixLeyceEYznh
wqAyiky/6vZYK2cPf2bTYNQVD55pRiheZy2RPKUElzPC41y8prtGRXvt1XQ9A/o7j9YVs32iuW3n
U0QmcK8vMEd7ykdO5B2xXh9u/dw8vpmn0VmNhaec8HLc/Mc3BBe/WbdNSDSAHB3ZVT03zVH8LJyX
eTE8OIzZ3QM8BryirlfAV6OXh3zXrrfdvtpX8goRaLdXHr6Zhdl7gr6fOJLFczvKdot0/0CQnuI/
Fbff8AdQeCMON5P5cysj3AaMD/ab39fXsugIybylabmBYso/feBpl4L7Xm3CHGVdDggQHpVF4hcN
5HW2ic68o3bsuZnte7zpHn53dwDGsm0yf2cszwXY3nap7oAgVclBLz8p0LbfT3Ji+0sORIX4buJW
PFYT0qYPOebU/dVl/8Kg+69K5w3Ev1UpL9VhWwb9d7L0Kj0lqrKl+C4ZqIP4QgqcOZ+4tYZRXSMF
xW9HdR/dDbqAv0d/z/19idVJDyxOYmYDElvegE4twaArTUTvB7AgepIpfhT1IEmgk33r71EvTUK5
6blCEFgL0+agda/WoLvybjGYYgL+evrxMFOae/C//W0VybAz03rWkbNAT4FBZ8LlWcWdK99ZKc5q
0O7CA81uO/1BjD4lW3YOtQnAqJBArnaA1dXX6NTRnULknXxN6GU8VEr2+WNe9La8xRTyaJzmcY5/
Hj+JjK3ZFlds0chMz2w0+k3lzyq/QKzfOaDG2hrqpiNwJ9+nXUr/A619UQUkZHb6fPLTfBJaaCzZ
8aRkTa9FdhKYqN5nzBS2rC/RYtepA36DzSQKGOtBOHUK7s3nRVVt3a7op9jyQTsoq1HCDorA0aNv
iD2X6Nzi534et4LbsBbFVMLfYP15BkYRLW92vGrf5Xc2SK8Fn35N2i0YRxu/iGXuxpvTeup7uyLS
PsMk4uJ9vqHMgVGFFEyj7WF150ly+w4tZytdtUPzKRDj9dM005JcfX/4eu+RXMi5H2nbzGh2WfJP
951u2aSW+X72aTizHRA5FGDZbT9b46QdPu8exg6SOckUWzZLkKYv7sJfxLDNJQvGH8LVrynrvnd9
hxWbQweeb51+syhmp4e4Lnqvfx7XZwxEz07hc9NTWXDwAAqz3+HXYmof2IPx8ZyqA3E7YBxupYPn
lcCyT5n5b1f7nBHq888VeLuRVewNGalFEPlILIV1D2a7Zh6vesB865HGECh0ujs1c5olftOrQQpK
UJ66adJgWPDXphZJ45gPd4SezTaJbuv+6dSXyCuJFHwQWQE4HCdbbqej1XvxkquyTO37Z3qb9lTd
+cbh7DnUgvs12APjWLKM3nQbmFmohS9UqasIiKxbe8lcCaoWHorV+s2nzCn45lWfiv0a7XtAlkBt
m5/ALIVDc3MRHGQBT+yFPXL/bKUSxa0zv+/ZPysL6ijSArlUeQABr1qdBHXZefT4IDmvJFPpe5Em
MdxdAF7fJaHZVcQOnzUVpkkLakjORH6k0Sk56hyDlBvvoDqhGu795x4Fd5l4XEYGom7In/QofKQN
DLbmirYY+r+gPaYbspX183MOvAWI5OZxvR2woysPZ/zWbWUXdS6SAjLHaSwjZOaYu90ndAsUFbcz
ygVxqyWu/E3/tJz8MzY7fD4Hch88HNFBDqtgOHM2nr7plRsSl413WbWyI3EHxYrdSzstAoPkioTY
ZCOQMQY/PEEJpT2L811ZuIT+cNrLh5PXNjJKOHUwAydkeaBK1LuspkZxaWnqvqX8xMRZ2BTMBGk3
kQ0OExz5Q1+xHSiMX6JkFWE1g3jH3v2LxR/bU80vw6lYNsWIwupwCUbu6UZSMaBGAHTyJP6SiNIt
2UeKsd1fX8uo+4A3BZMnYZ6oeRO+9pxi49kMwcVvP2afmL2Qv1H0oDqZegSrRvHhDq387ImnISwB
H/sEWYhSMNzoNzqEt9A7pe/eUQc7398JbYxffktvRHQIUBg+JfBQqJP+6i21XV+nq+hq/FBFID/q
wIVBz5fbkAIQJ7zdURUQLmy+Z59cJDeilXAr2ZiEXs7ssx53BTSl1MspSFzaH4a42ztSay1zHjlr
tUW3rddgWnXCC86lHKS4/ta8L4oTobbrNeKPvXTbX/G/UcrAhksda5ydYeYLunV/uuJPXrn1dUTu
wUHrV3DKUREYsQ2H3PitqX/lHnTd4grM4mbDqBEo+8TJvF+ZbKZ1p/6MyA3nUl+RVl+cXk7rpxu8
x2ivXufiau7H2RpLAq7EKZE43+XZW8TIdI4fNhLZrvLjflUPU5llwkek6yFi7qU4FC8jwZMPIu3u
1NqTSzltHCg6UCdAh/Jcvs7dln5gEB1GpLhIy6zXjrKWPTQuZ7f6znbcJLFy0GdMnKuXAv3EK0a/
wJOD4R+tk1MfydrZ6VTSgidczWOxA9vzXJX9iaoXM1E0297INO9dppzqU3f1NRU0kA1n7t1GtHAq
bbTtuH2YFi5mBFf3Zc1i4WFpc+jc5Khb08vtoAxzHhGuj8dppCDI5sCZ55YTzlAcjN1EfWWENbgZ
P5k1auTsKcMNMTAtI+/iccxW/Va/qg5RjmSFiT+DGqAfbMlV+mxnuHY98RYgmShKz6ASmniDjh2E
BINtxCpGtxi7qCM+hJ+/482JUV1x1zEIGO+OKNq3xi8wa5M+a0V+ualLb0avF4YVQHYdYvD89ggK
rCuyiwFZU/GrjeDffEpYxg9TLX51vDtCftHSBTMUoygXFsAjXWKraTVv/V7+Ice4O3C7aSR69i4l
cWp3qeDIshfNHLnHSUT1z5F0y2R+5UYhHhX07xolMnt/xAYtt7V1/8AsWdIJuBAnW1zGa7/iTmPA
xtaQIpwHJjzpnY7ibAGvNw+rEMDLCFmEy+kRskPlWAmQbWWv191XwF2LkDn1VTICpoFeYX/Le+d4
q4e6D7gvtMcyhxa7UK6zwdXvZPe45St8Eoxj+M8By/IG44zxnbhsjz0QFGTPZAXo3jdtdPUqGKH1
1W7V2iI5ZGF5mD4zI8vTpdbJ5Whxid34Jph9krBF8ZMTHnWrWxnE+jbDnYC5HaNAzLSN4hk8U2Qn
GKZ6O5ddeuTThUK8nOk1+Y6AQKIDkYCtmDaqp5uwT45s7e6Za4Zfq3e1U8eoxRpKXuCk5b7rf6T6
gPqnxorSrsUjkyJFQdRo3fdjV8fhw09puW85KcpZPca7+Kh+z1j+r0lBhsR4hvVJvIQVByYxUtR+
Hekr3caLerA7rGuZzz2qMsGWFtRy8lE1SzwiLhmIseaSOPdo86zn02poDtkNVZ89ntNqI32OnQt8
6PWJe41JB9/zG6nlxglgZ++As4t2NQPJVI7O2C0+wrR0vH5fH7V58ZHtRVe7PlE13UCdWtVfQb/t
Q+mMaesXDVQMlsC72bR17qEwfJWPoPbBTX0w/KpclkcmSQJDxAMHNmqne7f+YS3eEQPJLg54QLkS
PpjSszmU2LmxKi8SGQq/CNbHynsZx6bpca6QI+NTscHwDdJzDg7mzlPqVFgVKVm21HSKNXv+KwoW
7hX5R4a0XWIAdfpj78angjuABV7PxEdcXwAauVjcZUv7vTECm2idcG1a1EhZqVX8SwsB/VL+ZdRF
HJa8bGETL7jKmsP9W3Xv6P4qZ+BKsEi92TXEaP7A72UE1/AaUQdK5y+aH/2P4ozzdPvcxwFX6xdv
kmS5ullSLC2J8AANMI9ClaWbDzFSZtt+NU7PteoOi8TPPbLk65cFzRm7JUDNX6ZlM7cB2x5ZemG3
ZFMyz5fSZvbajqj0qJHbisPifM8YVSmBLOF/Q9/sDLNpmRFJ6GmXt5J9j4cYXHws2dp1n+YnNyfI
/O7MxSJ/y43D8bOIYDlFc/iXXP3H4TymDjeUw+H7vuZvr2V1qI8MiulkKrPkt4RlgiuH6vvr0zy/
an88ZrGNDQ2evboh3uo2fjHRsPyPlsoV59hNWxhfrE6Em30ngisNb3vSrJK32a6koHPIyE9AWcHl
tpTfMPvk5y5ofxB3sCnbZKthJ16QqT3C/GUVy/tC1V0weGz3yEdCU4OiiLtJDrGirOItUodbMLgk
Ed5Zgc/c9CR7REZYj2XiItX17ltzMQTDvr9IvrEkOaFkswTnclo5oPViFY8EyuNsVESds5BC/0gI
kyV9kj/SHRgj62ncsPJPqSL5A8IaLhi2T9ScDXCQ7MYY+VhNlm71JBbIUgnJXM58qGG0A97ExGEz
LTYuRX3FcJCmGlR4W+ACC7TIgpuZfmGEj9wzDm1r3RdoaTEb8gcmCXEHrs2RNy/bCFp9PirHkoE1
oxZFtWHeskSWA2AELBBJYP2S5tW8ufZvXe3Neke+ENHocNJZMbeksLA53LDrY2G6h60tXaE8hY8j
O74FDYGQjYV+fDISrfI1gS+5aFPne3GPZFb9jtQ5ZtCPA/JGuXaEjyjoL8MvrqL+YQmr50VovPaL
4HeZOMEg32EpbxFU3qzZyViInxSuZp2rntHoS/5tP5yQWc0aj9IFEeqskHhXVPOJwCrFoFHm2gtK
hyUnNAAobnLC3RIx183FuFjTxrtbqCPlZUPCaEs55Tq72SI+DWs8jK+l4uq+cXheYipKtKBYjMOO
KyjGUCbZq9m14xMlYX9JesTKaCJtiHA3avNLKulfQS1Q82r2fwESlk3MDv2LNrIMyRkpkTOMBBDE
he/G1n+VE02PKHaL2J/RYpOCZKu8VlLu1FwW2Orsp3GsW7/EpMGVzzY4h60MRp33wwTtAIUK+swW
8TIh6aW16htfpSXZ8QVEMxmOLyrT8nT8E3LJYMDuJYINI1YaFncBe/jXftyQxKBNRanH1vjqq4B/
zL4Aj66eu9mKURuuK92M+Hv0YIJ49Ba3zzVYwNiCGuaV84Kbh6UyE0m8mrml9/hoT7PPZpl2VlE4
8YdIKbmaht/s9zFaxW/zbgBpiAkpZPtQz+sFwacgCn+VN0ANb/W8tzs2/OMVjTA5con9Sqbe6M1u
b8EMlezN6sJsHwlbwtugY9DjfEWY8rav15pXvLXz4RJNURW4JriZ0G+yJPEFhMcZJm57poKztWjS
QbTI0dXChEFGOM1ZR+kTQOTdCLB00rQkIJlIwh6ypeG/6gtQMzzos9ymTVRZQ+vfY1+e1hH0ROFu
tjZE++deZVEOoZwe3QU/LF1TMjMfg1MLYFlRZjrGB4vjaA3UZIp3Cfs5CwL6hWz8HASUwtf9vaC2
JjiMlndzN0Pznp9mQXWQTG9E0oqD4gvX2jRlOdDdPxqq5yi+RSejG5xvaHD0JkVpup8BGxfC47gX
16mHalRcxVeZcYzVvSsDxQw4e6yAsx0mbxRQvIOXYWH9dDk4EoFJhcd05rar2yadrWqYwbATWYMS
NWbHPkP2mo/Lyji9sFouyuV9oEf0CFijmR/6ERPn/ZR9x5rLpV4sM9t0jXcqATpsH7ZelJmK3bCM
17RPmzeQBgZREKbfvbGHp6FovldoximYpOdntuaW7h98Alf46b+MdyY5eeZME1IXmCw2roSOMH0z
wxWaw+DaHYhJ+Cl2T5Y4of71QEzsZjdvlIlmWzZsDvzZRYGpY92ZYbmTMo9eP4wHgikbIuZHj4t2
Gqs5+Sx735xn5dFNpl8GSFOymi8mUMWGzH58GK6AXAxv6arIHPEEF3EjMBzJdKZerG1wxpgKoAML
L/yDfRh3Gte1YN2ORIscMqAPkguLzrgHt2tO5PK2PD4egS4ENBfoOGAemOxjXSil27E/makbPVg7
M1Cw2OCteO1nRp3H1yjvIJClcsVWol6Nq3s4s4SA0hHXAis7wiGP1GXHBFaElR10UBvWbCPPmR7V
E8lwXn0mvacUAqzP3VHG9ZVSt10mFI0zylKkJbIWO8Sn10FSQP1cE8NreIO0IWhlBQZ18sLVGzud
IobR7PHWtDC+eS/iPBCk3K7aWnPrecaRSu3qgjy1RNs9vdfkY8jtyI74nxKMYCfHLQ1zGkZ962m6
Q8mS5QZONFdd0jwlGM+OXNpYl5Y25VHaCmGxeb7leyZ1BNEArh2CqL9pGKXsRwnzCWk4EN0VZAdR
3aTzfqPBJYjs/Cc6i2d0fjiF+vD5DihmLjuwJfiVD4rdzZX6fzl/kNgm2fKiut7dyBXC5pgc+Diq
E0kuXQ4lvIVECVBy43PfVvFmWN19/Kf0U9KpQ4eLiIuGtV3+Vr1xaw5vXGQMePLTmx2Ui8HAvRla
SwqhDyjysnu8i5QwThrFGCTsA1pwD/qFmNp649DuLn/uyqLKUBhDhsG+Ypcc+8kzENRjAO84b+i5
eGPkzhheAEZlHgbaFBlnuZImd2bYgsKBT636r4FeBlRpt4g8DUtsBqth6j8Msm+0qLldMzvnJUsZ
QoKFtbRiYqlwlEMcpgjw149LZw4BYBneInZJ79VPcig+B0zXPzSEd7w8V8x0ElCIgtthqLOTc72o
fiqRS4Qp3dKX6RFrtrE3xOnTKd1fZ4nS1tOiBQjtkTg04Y2zw2ckhv7FMuwsL1pHX2kbZEK2uDD2
9A4H5NXfMDPJFKffbes0CmEwpwtt0X2MX5nEPWilv/Q5wmZdDVbztIAA9f0pbteS4mJAgzh238WX
7mk9qOzqK92HUHoQWduqNDr9V+sorcNyo6Bn17CbtcbP5MymIir8Cl42HR2aJ247J4OeF5c/jQVe
4duuPOK0AsgcMjqInpISGLs0H0AQA0DRkstt8HSeCmtgdRv/SHv4TPWXAcXKRhZxzH8EqrcPyhKO
fObvdR6fHY3Qqj6LgXKkpSg4j4Pwru2H9zgNpFCe+Y0tf9UsUb6Bspwo3M2OQhzCB/fpLR710WfI
qA9IkTGWneMDg4KGi5L5XXXBlbBJWRurPqDPUGqYUSzuf1T7W8nvv7JtQ/NNAHcEqsMqj8q7SpMn
OeSqUx6NzxGeHcWfRftG8wQvEsez8o3EGt94jWZX7cRPdZFtoJ/D5gA5ygoPPcpwel0rX4mnVmtN
oYG66IEmMy60yEX9Jl9kpzjcrlx28UGk2GwbG1o+5egUy48PttV4jcQAax1rsB8dztzxSVHIBo65
4T0mB5UB75AeXwe0AcQEtozgD3zKIfkdsKGenya/Yy5/cw6oucz92I4ZONEu0Bs9FJFDW5nGLbop
N/8ZD5p329WLaYU8MPEiBLCQkBwpWC6adbEBUuNwStNryY21SLxqX+4w/m6xgW0HX/0kcx0QHrKQ
hRzMtobpNpfkzK17mxOoucvXvUN3ETwnNhh0L5TlWXbuHCm8+5h9ZOg++CYCdHiUWSjM7xUGj0nV
b7Xn5tqtNT4t7dvvqWQbc6rpUuKpWQjEwHGc2a7frPtRDfK9FrvL2e8T1Czl60DFMvQMOc/f1GJu
sYtXp8VLSMsHwSFbMK+j6kATUZ+/doocahuWmNnzzZyLi4Lhk6nnueS6LOf5EfqE/qF98lxLMPUP
QwQXivSeIqdhZX+uVrKDX41ESzRHT3nbNxhQgD9A0UdPRxqIxSdUY19hZ/u0KTsT58UlIr5VO3Sf
Ai03dtSEuqUfrN5L5Q2DbPdyJdknIR1iivj1XPJKiGUNBa6WXZ36Awk2vE5ynzrBxkJdRDeH6Oq3
4g1mL4UXqAGtJVDZRoh5aFa4Pt/aEBUVPg+6/Owa9/LyNjp9yEq9ZOjjLTJjskG8BcaZFjbhSfeV
9E5d92dgVbWMT/flJBGLHZISozE0N8+PW8it9aKeekETQt+GINLWypcC0z3yObc0NxGKWPRwp+pC
BCMWTEiqjNvDBX8nXjJxHp9QdAhLbUdVoKEAf2Wmw5I0N3YIy3bIXHfN+/MsOsDXitwrPxixiS4D
wwz6badsmEGYabQ5qiH1iQyNQrjNQlN6rmKoATtW2fpWGu3hZj9YHle78a0+zLb9ovLzLExUW2dl
ewLyth82IL+EhfmWx6G2FhGQMDNT/nh9CdCVHUQxi3SwGfmAOiY2ZRZWvZjXFMMffdNhJLhUujOc
6HVXp/RkkmGFqJeKv2Ue8SkZLL/c2Gnnlzxa3W+OzrqWijHPwkmhek9D/DcxbfOSAgJBKenMYj9n
0+Q+t9U6Zc3BtuZpg/vHCzzSIPpuPtipJp2frs1rdIByxpAoVmFTODcxIP+K9WTUL+7lOhUDrCFf
mYyp17pxEJe67swyfM9WcmFP1V4A1A9wCGhciRudxS6+rW0P6zp4HNLgvoawxg5O/xDwFLuFsini
dww3dHuoi7Kf6iE+Lps+MO/7JN/1CnQBEEnIk+zuBwTUeGYNQX4Vy4wHZSznSW3lGH8NmStHlDls
bh+uxtxwC0AdOA0le8ChTEw68ZFs9VRSi6wKcE4XcJVhNxx0+q4Ur+g1EaCAIGr1WDS+nV95LTJg
R55naOlcTZvr74Xkln7/mdzDGsxNoC1meMxIwMB4fKeVMA3IL2Fa0cSFi1XFvE0TcHwYg+Zn8GFz
cwd1U29h9lafMySqcXB7LME+Axq5qaRsBUSJwwhHRsXIJ9DWR8Sns2mzpa9xfoMWbCevaQnL7oa6
ZYxl170xVwHo2aUUzfvT0Gx0+Gkeqh7CQ4phyTxNW9qLGXDioB/38ctRBkw4HknYcgvAbnrDRX6R
IiSjpSVAsUy7EK68xKRCM4K1NWww6q6ym23KPiyERTfsmsc+yTZysSrKAGiPNJBD47yEk9CHfbe9
j+QE2gU9yAeNifnQrZT8c9TmqoFY7AT+0hLvuC0nGSJrIRYJKqeXYghLdpbdGMMTj7GS0/FK0eot
TTgXiOpGW4Zf3TkanEGKhxd1b26RJ7UN2li7oWH9CAQBV6B1h5P4+IjVsB6WswENx4mBOdHC7qh9
dtu/xn47tfj/6fP/fSspjOpaQWb2Pz+4GfFUHanQw/ELZIeQBlfgjPeJUwj/nhsjDW5oo2+7qDBD
wxDdoqUwltbcCaVAUQ4oQQNwtW8ppfBIL1HU96M0C5/V0hBU9op/T/39UH7dEWw2lLb/npNed35M
Zmr7r18zK8iizydOVBWJfZHKtSsOybcEPpIi3PRcNX15Zkjt/75gEsT7M337zw/+/t2/fsVQ2ymo
OOkaB+8pvce/l80NhRFvevj3T5sYuGaSwjntZnm1iTu4F+zGYTXCyYoChTcraYnhV3398KK4gT5X
2HLaAAXrtdHRYHGChBhXVTzuhqhuQM1z1h6FMtto92ST57cPUyn2iip8yGLXeGquYuqlvZFkY5gI
qVtxv7bRZrgPin97ENxW5pdIABWkp/ng4bq1s7gb/FeDW7ZIH2zyqCCYRMVCQ6IYrKSiowsSWxpD
Z5vcohPNlXQtJNml6B592CWsT3GcMPVpzJtam9C4qtshgGzo5Un/8RAf8kKNkEWRqzgaKkAtNUzv
HKOZ2Hm1ZJB00VAa7bdFA/bInNF9wDHxbYj04g3FK8kQGYlKNKrxiisEBsyLBUdLqB9Zub4ixCyM
8oSWJew5a4baApsq1IQWWWPdMxFmNcXmHgBL/rhdulQGOsYUg5Ekoj3QmmUJy5+gNKB3Hgfk/t8o
O6/l1rEs2/5KRT33rgu3YW501YMIEHSivH1ByJwD7z2+/g4ws+tUVlebG5HJEEVKhyKBjbXXmnPM
jSSUAsl3jfDSqXsQg4i8FiNBTDcM16Gp/WgV5MxmhMK/VbfLwry8gm+40RbrO8nlB0GHoGJjGZA5
TW6IhTJhstG+kBu6T1BTGBajvUFXVVcVHgueUCqCIsRYsGO9Iaae07n25+LbngrwfC2zt/geMnLX
ohZrBrYByRy6k7GMrqzXH1/R/3H0HDdDcR/AJnKTSLuDm0z2sy7nkxWVhY9NnE5cm+WHVn5O804W
AgQVayAgwdjlLfdaKCJXapwtXpz3r4ESVfsq/6kkKB9IXmHTNGXj1ZLKg8MsYMD0EKv0HBryMM5J
R+JKt641mFrjGreFek6qGpEClBWQDh078hTHr2V1vgaW14mW6xmIXYkTBOWxQkZ0jLw25S8KDXqb
GonFhDOBwcvKYEdyBUUvp9re0nuvHKZp180Lam6yCAVY2ivdLJ9rjkRPHeERwxLFEYU4MmUxS+zs
ZzNGzbGyZ4Jb6InYOIrBfHJ+BMDr0GkYDHkyalfrnSWw+gnh7jsh28QvMq5tqUqLSuOQ7eihabUA
32nP+FR0zhIwf1dG0r4JmPJxRQet7hgQNYYpiDEwWQy07AMYJq2uJnkF7kUhF6B1tqoH2J4lVpOC
vvLAVFWhbxgmXNoS3XnojZC2X5VKt2EpS6pcEgiIkn+8DTiQ3ABio6GFtltXRG2rGerv4uco0v6k
pqzchgYup6+pyGPIZiYJnIeekiYJYIEES5lC/esoWAx0hkqBej5T/GUTSC6o5ZCVRDuYR5M3YKjp
HuZkwpBKQRc8JCt7Z2tI/JcmOfVwlqFvU/UVVXo3hh9xO4E/RvelIDJgiQ13hrQ3s8EYIk5HIp8H
RqRx+BqVjJRLCAJXpZb6s972m7hJF1/rjWLbEnBGD4zhPyTQ8atZjJgNcPrSLMuzkd5OFaOpjhni
lM6In3uO4KixrzJBE6tk8Bk7ws3TWbmzjLy7KTW2MOn0pVjK2wSWlHG2M8ONhiUc1J9tyd7+EETE
I2mzfmMbtByF8VyY4GqiiwRoZuCSKIht8wINrmzup1wYbyntRpgUkwLuVgujYQuy9zBSRGhE0lxZ
rd3BBorfiVoCtw1lScd5iipyYWo9MCCdQmwJASqReK7vHLW7sglDOJY6Y+KkpnLoVF1xB6zC20LM
N1o3e5pJyl5qB2x7Gn0NLy0Qv9MztKYSKvgUL9t+abDfWNFNoYbaWdH610brn0oSHMue9ORugkis
wQdjo9VG57xiAyoZ2i+SKAolpdnObs4aK/DjkvVNE8G9CELmFLVID2gRydE4RpL6InEYkjungCWy
tF+VlDZlkCcM8HEoqMnc7YiA8YSZPTnTalcw+/fOjoK9Am0hGc3PzMx/zJ3p+HIawVkr9OBzLzIt
zU0DpCWalkcu9jf1pi+RmjsqnmLbYL/Uj7S0tND04VDdxXBjyNZyno1yDbDN6FNwmqGUawFGG0Cw
Qo5ylH6bNsTfw8R5LBJzn9nbIURvWCgtGJh4fFb6+5kg3ba8X1/iIbAiDqrIFL4+g8NJdFAkc/Yc
O6CXIoKWDlrMjKYpwFMnCxoP1aEzYnecilk5d1unp5guGHwMpuiRQCsbmDww/aMw2A6DhIpONWpJ
o/ScZtmDT6lII8kIyMnnHTihq9FufcvQFlJTF4QNK8aLhwKE9hk9RmuWMOJaDCL8kokdTp+4ag5O
N+SQt5IWiMrapgYrgyCCz9RRuhxbAtoVkDUgJ2guVysHQsz0vlY0WdJ38iVTaBrk9mnpxEJGMOqJ
cmw7lEvEwlRDQqYH7DkZZl5JNAxZjVj7kpAufyWD/moICFgK2IWlhHcxQWMLg/BkRLIQ2nQN9blJ
t1Zzp6uV8CKQKBTLbOwTg65Ha7L3G7jCXlkMniLLmXEgZsww4TYwP8QrMQxXtdlWfkiOzpVlyjPY
crhMB2cmbK3ome+DTiAUqeSzaTDKpODAyeyQyS5m0K5O2RaQY+01kfai2nSXBce3B4zsqkxmoJ6x
eHKy1nYDO2fISVZ23Rn5g1Ykz6Imi3xiQQ77dqQPz2ZEgVXdh5heihbUSMfFJG+slzaV2nNunGe9
gedvVTvR08CclRTHVke8OcCPq8p2Xkxbjq/QAr+CLH+YNNBCeT+0xzEkG555gGbG4xFSBkpzh039
kNOFahz75BT5B+SSaDMoTPHL5HaKbOugL/3TzBHIwUpZQ3VXja2Ps5XWK5PGJAAKkVN7oeNa8N4w
f8pN45UsRd8RiNgSK2DjG9PD0i+Yo1r91lP5XDa16k7AD6aRtL8A0efA/sWVA7SbSjUAYyNdiNr7
xbL2oBldNUbUoKm1b4N83OQhnh89NN/1dqzZfXVeFk80sURxrmAXm82CYYzhQZVrsH9VcdPz+t1O
hg2JjuT3iehtnuxoZ4IIWtw5yY07o1N2IeC0q1xzFr+2Bm+AIUXRwmTbUDJwYm2yD+LlYLTjbZ2V
sV/okR/FdK/UCBV/mdTYkOIes+K6BRJN5kXUAu3AZTp2zuGoQuju6b40SemmYnC2SsWQPosSErKu
TZEnG3MF9UsTI6Oi/pRj92UrHU8Lb5FBz0fqO96w6ilY+S/1yZk642HRTHy36lWVY0lbKE785TlK
YmOLA3zZOeoBljKNiYCjVl3kaYwkw5RakOqNVog8rn0s6dJPrQYGabmtwhzD7YyVFIysZQMytasc
HMhiobsaryeHq8TI7KetTXXjzKghx/5Z1/Vkn2X5LUKESWswXCKor1WIVsRZ6h5cVK/A7bum/1n7
2aqPxmSE91WSurAEN22DVNHWYQgbdfduOdV4yh3nODtsVxxZ+cP0XshrrYpPLVZhT8A8YUIVs4+2
XiJVPnTZBJec18rblKAmzAPgZHn6OIf2ZywHudNn3dm2RXdPBnx4yg2WsoJUQ5kK0k15QyV9UkfC
L5XVW0MoKDVd+5prMXMNYL9xUEtEwNNh5Mx1c5NAnq7jXSCPm01JhqVJf1ByBUTZcBNW9PZUH/wV
aKty2DgdlVNdLKdRRt/WmAdXIvwMUjo7QTpLj2JsW3TVTBares4jUhZFh0phS74RkuOKplrPrpfF
36nvFIeJSheXrV+tyt6k7veOVYtNqKP/wrApl4EmRkjt2eIQqeVMhmyOWdGOyVpMQHU5wGFrJffK
1n4rNa7DYyb8VKV3VBYpSqGW5ts8i9sGa8GjwtBsjNu3fEpAHusjuskxtXyJMD89moPGFlobwMNy
/egigkqtIuerGe2cEurEh8Xo06TeeLD/QDXGxCoOX8qyJDCVC/7Su67GAw24EQnYHHqmxBw6DgCB
zBkmaUCEPSLy9IGMTcATPbNaPo1y08vUGzIi8NSciRG7aPr5drrGOgx7oKO3qlXT72q3qTIfBLqJ
iRx12pLEbbBLRcKcLx4XLTgD454z2YGYdmoAJc392nFDK8jJg8apysmcH/d6qfkReEkEAFF3R0/h
SWQqvo1c7PSAD1CoDT2QqX9P+wKUrGF7VPOA2TvlFIAzRRaVo4Kk3Tgjlpbmnclu6KDKu1FhIJbM
z0nY7y70bCtSs20OBdaTnOwQm5LxRaoCNmSgIqt1Vr9s+4y5ezpqFXqrG6MoHLLkScbIjB5FrIx8
3ZzuhkFl591QzAR6Qiu0ts+6Se81FOH1EqzFssrBSV2KIKe95jjPXTt0mO86n6AkG7pRyVEVwy0Z
y2BPGxJAWzZsYmzxsA/12VKS91RPU7+VvEM9qdc++ZKuAchIA8bqDXqHtGTm/VXWzz1AT6oTbqcF
TkaqDFGSkSC/uVt9ijm5u9kMTDevhZ91klmfwtxlIrqw56M0OgYbMm2y62nt87WkczbRZz/JQzN3
6dGxW44O22Cs04S4fJC02mwrQshmkGlx2466tY+S+zJDxhBG3VekoKloaA7UHZseh7n6ZHSuYl3i
hXh3K5oz27BHsAOBPPRFyebCrHFtzfPU7LgKYIBudHS66BHN2hyvIwBWlSPHtZWBx1tDFBdrsKXM
CSRhsGjFvm/Q1/XGUrDbNjYkCeUbUqptv0fj0iB8hLJkYqpqfs4svdKJ5lPek2GdzLC6emKWNmAB
A9cIgvHcphEAn+V6UbT0SMhEtZmW6uj0XevCd0Q7GMSeTCDcNYivxaKRx0ChI4nlvjLy9tnMLEZw
imuOL0tINjxAkOfB0BFzDa21RmfDomKB3xkC1sw0MXIvZH7Uix6jVId2ep45rnMBbBFfw/ysZ6Sl
E5VGJGSFsqrlchBy1I8LtPKpiAKXXfAL0oxKabSvpX6ItJjAJFZ9iw8Ug+mmjc8aQCXMA/FdibCj
0lAYVnO9a1PS1FQRPCgNDpGFuTB/GBk+L5mpbwe49S3eCqHHR8rCOzomC2KL0S8U7ScL5Xe01PXG
KtjdFf2ocgaQYNMa4Co7AnQSLdvIwi49M3bY0NrOI1l6nIQmB6rFsBBOIY1QFhvMWdYXDFw0IQjf
eyDGW80c33BQdXyIoGZJGRSbCEV1XRXTFtAtcw7RRXez+WmH91gcKnpSwER7x7NG7V3pGKaM6/Ro
frVGdi6Z2b5rCtu6atsGxmtQ4i3FgnVQOnQeWR99dApNoQRmQEK6QqyNlFUJQ8q2rl855WgwBYS7
6orx1uj9eKXqCE8VsLjI3JVP3RwfloaZRmeSt10iBWht5HzkLmZj+h1ZcXG7INUHIYxSet3HSrZw
KjVcNYYn0qi29kgLZMrUU7DE9gOZQEcaF7QIaX6FeqyerVJ1S9JB3XZAqglTr3hYdOXTrtTok73N
tww4pVXzsXAkXU29/eb69pab9F4kiGzUcmXdNzvamXIKJ2IY4jdDMdBlwdPjghqTPLJve9pqLA2n
HIXLXODb7zQ31nMY9SFFjAWroQH7x6WL0YQBr2PMIJGpw2egJdVGQyleBlQnc9AEuK6HXWRkhDHZ
LG+QCD+IGXgCj74yti6LFcOnYDrHU/ZmA2n0F1K+T/VE8mWXCdU1AXkhyKk/htEgEZCzHFL04gGN
XI6OMyDloG4pia3ZDmpwzUKXHG3NMa7CqqC5YauPlVOzN8wngdQTU5zsX7l4xXcpePiNXPOzrJDs
5CVA9V+3T3YBA5EoBXcqa2yppf5gdKx/hWo0bhZW8KgV4aNR1eBIs3/Icq5z9Hgm1r5iUhqoI4O5
zRvj0JAfsLNQHuiZ1fuBoAi1cXLqQcEqlCv4EaiSlLjEJ78mVUSsKHZn7IXRgwIMKxJREmenU1sc
oC5/xblwSB+pbhcFU+eo6RM0Z3Z70Af3eV5QyBumR7rFNqiV7TB3zCydgnT5zxHhSc7Cv2FHSAYL
xV5utUwdghe9KDx70RHpD8wzouQDvqF1a9OOZtcwX5mD9ewgvsux+uF5MWZPVuInUDB/JBWJnZu4
sfrmO6Tx5pUNWomx0hffQYmxVDTr64Cye+3aQ0wstwDy06sxCq3dGKyp8ROhrhYzUhnMFHI1xYEF
Bv8qEGgQZo0VQ6V/FS4NdF2i2jZW37+FoXhOSku6mckuOaqKV21e8p0m02MQtAoISeyHer+KLDtg
8zM+fjGykJawH3d6e9sI6Lx6CLDVCsnraN978jubdmaatIyYOswGXkHbE+sUCUJYVbw8SrG0LmEE
zPYX2hGkiZWbhIySXaIBM6w13lUxKV9mL+/1NpdvjkBjZSfVe2JOH0onzlpjnrjW3o58ss9VIA+T
QrJNRM7sIWk5B/PMIDb1dWJXvAsaODICNUNxSkeM/ACgmcmy+BOIhU4QUzj7Ea7PZv0FpZSCVLWR
F5creedffxnNzd3YrYYqKfPD5Mgyubk8PazJjmBQvW4ihnF22fgXuEPXJ603v+7mtQkT4XL/ty8v
P/4vH//148vQ8Lp+3bdsJoyjr4rxJ/8kQS9rmkq83ly+utxc0NbNJSZwfeBy9/LA5Xu/7v6r7/2r
pwTQZqrhSyVgdybg23PyKT8EacVfM69/4m9fXr57ub8QakSRlUP70Jzygf1JebjccHThuP11XyzB
f9yHVknvsHXjVytfyP1eiB4iElTbGLQyD1kKqD+2Rbc3gvwqq8i5DiYdWs6aqJ4PBKZGSiQPSxTY
rmNT0lzudvXy+wPp+hTLJF+cg2r36wcuT7vcJcUGwd0YHS/fiqVhHCbNxsnWK6mBfxluz+V5l0cu
N2Xe8I+z6bxPYh3jtgnCn70VL+PycKdJuS+1LwJsJIJhZ8DdSkadG0MRO1I4QNlaaUVWzTA/yLgW
1xXTXyPpHrqEAc3QzM3GLM3ucLnRpg5BRFQ2C/rGBYUI1Bmr7L4ngdaisCXdz0QlypgLuNEwMYug
mKNMFZsU2BgBJlClkhUURcISh8t693KT5yPS7d5qml1DrFupDtgbLo8MYaEuXlAVP7KRrvyvn8va
iAvq3JuHgHBOP738hsvvrkKxkkfEcOTPif1f/95v/8rl1/72nMtDU8ckRR0LXKF/f1Hp31/Z5dmX
B/7hd/+XD//6DZWdtL7Tt/tfz/2Hf7MkoCROm2OmUgDDzGL5s3NACtJJ3Ch0HkYD4aKm4rOz5u6U
0noGJwU9Y7ALhmEipnX5kRpqvbPqgKlAGe2tdC72ZpQ0J9GPTJVS5vhduBuiwUu6bC9CdCt1CcoL
xIobOOJjaJSfphHlh4E0DsJ6KPUbKhd2nJJdNqQCYZr0xJhZagE7T6fQJwgwMIgGp/UDZh8CHrUH
LJXGm/NIAVae05ElDRwl0lkF6GaXgugNhxqzEsP6oWgQftrsRYwJqEELw6PIfwxhLLymQgNFLeD2
6Xzb06JzscujLjLLR+If6BUBuUTpA9aFLplL0c28u8OvGGdGuK8n9UGzihvK23YzZQpChDjZZVyC
d4OpNmR2w+BR2ZcpQYycysbPVfa3mVpyMYuD/jypDJZ6JpiqzpiuX9XgWUiYSDnNbpBi2koEWmK5
VAunFlAcC60y3I8ZoaRdiea2ZLYYJDdRsGQbQryQ0KjdtwxT21uS2nI1Rz2WEREms0GASNwGh9DG
AKJYzkuKrLJjDuKGIXnjYY+ipyC4cREffZ+C7S3aT8XapgB+GTRKJvppetvWbLYTWa1BfPh1A9Sg
GsO1oyHfLal/aGmPebalmWbM6k6aaMfJWpg35c2QIje0svoFlwERhjack6YLw6vapk+qprHkEtgu
ADlYH4RRTvvaYu8QMoNNu7g5WqM4Mydohu6xVqiLVXamXQHDhODSDcPg85iqp1G3iVDJe6JH7fJa
dHq9HWVwIzTjs6jXvi0vR3AI0xzRBBzNHmRggTEmDYqfFmGqWTBiHA9rcR0V9NC4nMEUitcwy0w7
h1BGdGUg272lHVAjgZmrkPCsVH1VOv2HmYoduTAbhR8FCY9cuI2W21yYD4PZTLf0HrWQYi2VKMCI
F3Z2FjyammbIQRjKjGsqTfeqzS6ocMTRCh5SY5B3Xab9lBou/jh7CilQcNQX6HaNt6FVwKV0y0u0
E6HKNmHRkp2Rrrpes/tiGLhu/Ebh2TV7vQ7aaKb3GchYVjU9VxeGK9SspHC2MRJYIrMUlzGW5pWp
9RUOTfRMbAKqZacCaB9v6xFwW7DU6jYgwkZJ4z3NzCetNoJ9zTskHF3Q6izlk1p2pyx30MDZLKJG
PmKrM+Ru0CN711XBdRvFzcEwwHEPZU7yHwZzTFhTO7zVWfOuVLyCvEIEmwd3VanettHE1o/3exDe
ICkF9X7+VlNTXDcxPgGtpYUnCCG0I3RYaYwMPJHBaxQjql4KBaZOlFN04gHuouC6XEx6vZwf0CPE
F9s1FBXKvnAw+Ib90UBhN2LsaRuQSiznW32ExlcJkmynJK8/c5O2QQsh0dVN4HsG+jaV1h7il7Td
WosxPuRdg8owQSjDe4uAuYvEmZoegJ+K6HYujp0Vh7dWzzU5ZCxkGHFIPIv6bieOghqmQH+ppU+z
Efd+m7INVyNLnoco+OpoofWqBImhIe+ael5X3Se3cVeBD1x03LNBz9k9DQOymJlwUDpTMkQ0RQT9
Vi6T5lVWNz6CnGVsOT6SV6KgLY1+aHqvE0qjg4yXaH4nVSPqwOKXMiVG49KvTsTRcTYNnumszTt4
J4nmieGGl6i5GpkPKEZpfRhTW/sFjErG+ChhCTY6FuHYgc5DTYqQw19IMfTGBFMFNCASiborQszy
vaYDFpIiuilJRUajtZIQmN5tg8QmpDpUbuoFXRjDqqd+yTA1DXdj2y4bzab3MVcq9kIlNIiq6b8S
SKlXEFG+pwQk4UhwC1Wa8iwU8is7q8GDJCFl1t18VKSNsa23tkPS08IvdRo8urViQAvMFvX0MHUa
enAjplss3EWrlmOHuCaTYX69isw4cq1yiE9pteRek+cn+qQ3QrkI0GPDKxOTyNPaavy+Q/8/Tkt6
mBs+aGdpz0YYA6ephoA2wvRmpWhAsmm6SenbH8aKwUpuY+OaSFcmZc3ZK1P6NiJ4tabpLSNiwlfM
5LpfBProGauFqWFhUhp9EwIb387DfCI/OjvU23nM77JKZU0tnA8i3mjmd1h8zeY5tZUYzUz1YDLU
KhZyjGuTK3MurG9zPVVNjRFOmp+akROInh3V3jJ9Bkp9HpW5AprDX5/geFcJMKztHAtyHT2qTitV
pLpOvUeXk9cIEaCA8uvyw2gCt2PMjA1q/d7lgcWGjVdbxmPZduHRieRrnEE2TBqlP/QrwWZcb9Qx
xUwRFk+RiKJDlJOtNRvTayQAVbQFqTAq1R7yEm4aIUNP5sgJEnRQx7Qu1H3tLK62dg+DVvOnciBl
0aL8r9lH2m2p+srK/LzcaH//6nL3t5e4/kBLOvah8C7fGMiAYOexvnJ7VB9FSkKdZo2KS7yIhy7y
JZ+6Y1XMhU/5SIbbOBPJReoDXzJIJ6PULHSy4gQAksbxC5iIefOmh2j/VQed56Wkv9wQtLxAwOHm
cjciF4+5eoJWvyMqMw3eQ3JTlt9elN624+J1c3sXrUc4MSn4SpJ0uTI5W9hcsokgFQW++Xpz+eqf
vjfYDtdNE4NRoyU0Jy8bJFFR0ob6GluYynPY92zofkWzX75q1xq1J8B6ozBx3hg1w87dBWB+QaSG
ZOARTqL404plv8DQE0siZbrcj1cK61LTjXEyfWeKIUVXv2YGXciseXM/dLa6Ny2IRfZ6s2QIeQl+
yzajMq6kKmCxh77CddaU8jqyiOtDBKYd5jUx8fJVowjtUI1mSTODVmy4QtZrXV9rMcmWg3uX13D5
ymSr65oGEq4oPlWSdLiutdUDOvYhMgNA+dBMtBTRLzGXmOAz1VgjsO8Zi4ClV+3ajxIbKFv7tozU
eez18g1jA7IE7VJxg1Bg2bFa/VBpqn5o9YREDq6hV91KNLc0lsoVnQzr0rEKaAEQb7IAmkKFoLRi
Wje3hrbRB/YyzDFvySCOfZXkXFrcbHm9LhY/LxT5y02/7mjUMUBMv+g0hv4Dk2sVse2S7YVnqbGL
YzGo2JcEFzSoXpWDEJd8tMsN/dV92S2E9azBUst6c3n/L3eJpPUz0nh3vN0hAL31M6By+/3GmWCo
2GgFNosjUOBmbIi0SEdUOpJWguKlpuB11jzuXwfg5e5MfAAjhSVw+9Z+0PXxrVpzFodl1UomS9Ju
I2X61LHHs+5b+3Gqjv+WG0MbGZ2YzhowwsXZ09wBvkl8oUHPGvhk6pepl3rkNeyU9+U7YgOR0Cb0
kFfDc/Scx/pTPJZHRlPECuFOd9ZaEOZyQkG8wdFknaKn5Q282Pd0w8QieIoec7QepIZBON3kP4Eo
rifl5NP2ZIJY4UtiFDBf6YbHEAS6dQI4kmn4a7ECx0CQbFnUlwd40s0I6HXbKz5Ux2jYKffLTfdV
cndGNnhlIIYAccQM8E3j9FVdhDndK/+UySwO+ReZnveY0RgS5rjBEd6Yp/hTZReDPZXAJI5A2k87
sjnwTnUJEctXzeTjCNGMbSS/EMMAq6kAjT6qb3cArLz4lnhD8wqbMUKLR0GnVGyxnScraMo+zV/h
rXZCnQa4wMMfC5EgY/T6XXE5yzbmg/ktz9qDeNcPwQP9eGq9FjuWDnuXkJETNQPLivaWvMw3wfeE
N/xlhIHd+eFJjfcGBn4yMFm0TTaSW6N2BVMs5OQn4LML+SXYvl45DnDAL0wnmBqdsmPyieOy2hSB
pxpbom0MOEokgsUYewE89OKqjhlhbZDHAYoab6nEWDeQxDt3J9QW/vQZ1lfy/ofTbbsZqfxpxudt
11wMd0a9c6wHkfn/gGu/pSIJy+JPRZ/flnHRtX/9s2bDc6cuXL+///7rnxGeKFKhnJCWjTRVldLk
8a+P+xjpzF//rP5bVU9jkukqRk3lUAkkK176UxzLXfpJQOE9lFPSDSmbg9vYcufcp61IRsP18sUR
Ql2LRi9b2S6z6arbJqBs2ots5aQm5EHa+6C4hdk5VjBUXV34wtGYsVM3+BqSv1eIJigDn5ef0P22
+TZ/g8JxjQd0Vz0Pd8l9/lg9d3QcNmTz/UgOEGtfsw8SyXR/OGcHrv3oMBUOWIz1O92fmUj41h2L
GVqDHbIZ7NTIp/Ht6xibZl8bN4bL2bEB84aydDFwR3XP1jUY5olu9skcPKff/miGb/MxP4HjjX5i
TMDQYP3EASXJhDuyS3MBpr0ln4ghlW/61shfxwcGC4+kHBdYbWAV8whnNbwGgawfKdkew2xwkncc
sh3jx3vEZvULEgv7XG7PGCXw6tIbznj/DkiiCD+lyN5ln2j1t+JOf4aCuXW88MfyaWLs1v34kUie
5qy92roXn/q9sot844wv1HgnGQz7FBFhm+4ODCCC5/ylhCyC6wVlk4fcGXMk56mFG+Az8TbxvpDg
Wq84w+abFQHwqCubH4DJYsujOnC7TezugFkC+2SCHWEgPPar8eKITwGcuqfeM6xUIyqdEy1y6OIr
vYHDFhnfeXapMlxR7yAy7PkTw61+q37n+b7eTR9swXmpXMB9eajf5qPzxr7Sp3LbUpvvBI4hdwUt
nN/kO0pCFKLeIfFt73848le4/3868E1NUQ3TMh1HM/544AOyb1F0aeNZs4cznqXIXdcYDq8ny3nV
VoUpkU5u8Y5tBmUTRqMnHEntSvxetcr/w4shCOE/vRjVMFA8KwbZB/98Fsqkm8zGGcZzrNEr5P9O
2UeFN/MWgWjDYcP1w8Vnl0DHYA52U3U3IQNcbJZP+Efim8vL+T9f0/8FLPj7stD+7d+5/1VWa2Uf
df9092+PZc5//77+zN+f88ef+Nt1/NWUbfmz+2+f5f8ozx/5j/afn/SH38y//vurcz+6jz/c8S5J
FXf9j2a+/9H2WXd5Ffwd6zP/tw/+6cf/Lu/CVux/+OTWf+H3n1z/hL/+GflQXJRx+8fIi8sP/R55
YVt/MRxT14mvIAqNWIvf8y4c9S9SMaXJt23TUUkD/JV4oa0P8X2DQF2DA8D6859+T7zQzb84JtFE
/IipXX7j/0/ihbTVf1rtqcw1S3dY8R2DNhcl2x8P+tiMjSRT2wjw11NbOs5+DlboWYsm5nU2GqRz
uaExc2QTyfbQwDJhtjRnFHtrpPG3OVU/l7oTq+a4RkyJ1yAEETzGzu3cDvmBAZ/DlhIJpWAnhEqF
NJ8W1m/cQ9ILj5WayGeFOZ/6Feqj9TDV8rSICWCDtJb7sV2QMOcs8HQiglvZz4gxgLCSBNZtzRoW
WNPMTJEXYjj0FvF09jqWVU3BRX0zaKcpSxWvaDJfHZMXZ4b7n9ohDN+sooyVRk2gHL1YxOisWTEC
i0rKEwm7z/YcLkdF31sFwa4To8BOg82IBOh1NA+i5+pMomRzq+XFZpa6g0dt2ecBlx+mvqAFdFbv
kJTIMetXekmr33aFHQBbAdgYoOeU81D4ITbQ1EmaF2XCnlROjPvR7Cm+XjFp7KXOPh6uyWIlno0w
+3y56Uxtj7po9lIFGQeQICcjzXHuuTyk9K7AFyS6lydcViGxYt+Nxb2BJvcs+ffaplp8qY7HqoEF
Es/s/9QlIFxblujuyQNgOkrYGBRWr4ICMxeLukuN+UczznvF0UcCZCkFSPD0zXK6MdZRMWGI6DzT
6bbJBusqGcVmGkqGIINg557gZk/RIdMVcA4L/Z04pE0E3Keq2sd8XAGRE7CfgkFjzPZ/G5mYC/Wx
JDnAuWErozWFDhiJ0W5e0kMxpLlLiO9GK7PYfIJUxzLJX+IovLGzaHDLsALibL0qcJHSsTXuxAgm
goJ7bdgF+q2psXgXlv0eEIYIQFsA5skq8PRW7BFvDZ4Cj8tBd0ZQOmaVYQcV7XVKhHSHVsktMPt0
Uww3sO9gFE1m9tsNf5qco+xhiDMaK2yI24bszrC6CbXijRksYRYBvEaN0AhhM9cl+muX13a8s8mj
9/SI2qfQepbngULAapEES6g7LS6hKU0xhSrqvWU2mD6W7saGgqjqWnydIsRrQ13FSsFcoRM0xqw5
PDOq24s0BQyjl/ZnSnnFNOuUV2YLuZp+H4KtkOu4q9faHhND8sO0o2tyLz+NqETxF1CSC1w8N3WD
p7VGP0Rjb3YJ9WJYSX9z05tx4CoTYlHTORR5fMcUOfGmnr7R0Klfdh6CYmHqrKSSluWU7YTjILgT
PVdyB2/5AigiPE7k2hqluhkDctkrLFWbeFhSb+no6BlJs01nU55sksHxDUYQd8EhzGHKhBj9lDMc
RqIblkX7kk36SIikgKkJTnxpFJpXlf2SDFRpdRmkm8iw93YSgWiqF0oetYDVRPU9V+WtMgLVKnSw
+GUMNjmlmVGuO+XZsnxEpswMPYJaEfXmwORjFHQ5n3sqbiKT2Xc1j09D+f+4Oqvl5rF1XV+RqmSx
Ti0yxg44TnyiCjhiZl39fuSea/das6o7f9CWhgZ88EJOcRQ/K5RhuUUtQisd4wVNkpF4XA3fkly8
SxSygJG1G3JzQJUK/FNNGBdCZ9U8kV8/yUisVOkuBGWsqOhIDQl4X7pMmRUa33X4qSva6N61DI3y
QfrNQQLBbVor57bNT+lYDlbSVB+TMeO6YPRQfOekcEGqlGu/CHGnbHLSJ7oJak4pX8zTvyoYXins
VaAi7KwiGa9IXw1/RLK4Gyk+kbR0cvidAkFj8JLvOq22QQkMQWqHP7oPkS0mxU+bIoIKvAv4Wz1S
9iIckgERLr7AME6j3OtMHdhHhsJdQaYahytgJ/4rZnd/fS/zV8pELQO/ONRo6nM+z54wVOfUfAsN
MrVQna+mIgAZTn3g+9KmYr5NTfeklc0lSqtbPkbnJvXBomtCQBGGxmc5Yx3gG90Nr9poV6JiYajS
RPkBGF9PEcMxJEQudDpeY473UTiLdt7v8DQEp42MX13+5vdwCM5pmI47aRKftFZlIY/yPs6Mo4S5
T5iBBcZfzYtDVULMvoeCWMKy00WK5ZohXyU/vaWpj+9uMP2Wkbgth+lzKqlvV738ESQlAtJVdB3F
1VMYdqq3+ijFAevfOsAhR4GWnUXg8KtIRwZOa64Rsst+h7fuEMAFqESQiXIzv855/wfitgKObsm+
/6yuRGC5ErAv6a+YQ2zZBxODlTYuTmYT6HhSzBRWQvQtjQ8p1eJDodOzYq2b7hgiJgWW9CSaT0YL
8VuTwAgLmIL0Zf0LhHG08jiunZb3wm3TiSSAj31kfEVRdOxXFMdXPhh39paLUDev0sDJ6sftXVHr
vVHHtLt0HGDN4BSoWCZS98PGFM9xaH/7UJg3Q14jlyAZPoJ24h6cGj9jfZRJhnDUxEVGf1Gjfind
Uq+IlEsltRIWA42Tmb20bTIaWeZHLCovU1Apxy5EprOfit0kRK9sPUbDqzdahSA+5wYY7H1uzpcJ
X2qCByLnSTuZg/GlCv27JsJVk5W7wQnkSim6q9QG6f2AmpygjcuCXSZTbQvSaptq1EQbmh6EEcW2
i696RDaJR0Pg5JWewOOWPjO/L5+4PNSc5Mk2dQ4OQAIHXYZfCSAFbMmyhw/ddFFYGDbkgDbIflmq
81YIB85iBWkdHvGUSYQyle6Z9YAbBeocREt7+ttk/n1+H+R0a1Ykt13UA+vUxI/GVzE7AsEZlMpP
NT77lazZMxa0aDmQEEREUUGjhvtOp9g3a/qh7OZgrWLeE56mWSG1CERkmmS2rnh17zKO0hLaFhqq
8ip0yoj2sdLpVlhl35KZnlpVPgKG/JZa9RY072MPmjZaeTlKwCD70a023vxkQzP80kPCc7pF7VXT
SfgRNBdbNyH+mJPsqNcAGob6C1P6dVONZzNVXlZVcKQG+StV2rZBPFVqKWriV9Gp5XU1keBqTDGx
AjBRCRtmo1uKc+jBCOk9Oi05JHjjO+/+2hBFtqIhL8qGGumytPgZ/d2U/ICG8sIEnP4q0D+anL5e
oP5CtkKi0NfvEYp4Qy/gW9MjPxhT/0lV85P6sk/7lBGjnVTWpboZVCGgi52fp7TVLcHXb1Fe7nOZ
XiMBwjEoVTo0iWlYjFJBlVQ6hdCeG0I/Jqwl9d8zMsE09Z71OvgO+vaixcLOWOJKsZJ3KFLK0CpW
TOsIX4IqJLNGuYV7AksHaWWOJQXvZkwP2cELATkpIXSj7EMoEzTWOhCKkCKNTdFP9qpC2xIS0zjM
e1rbrzTgkQYOxEu7WnobGVvLmIlv3VRvK0PbJsMiGjFe5wwlM4JTf2PAzkXOTKIhST1u1lTkblvT
o/qPLps55MhumDxVMgGEcTTiW0MEMIAqpx+urmktAOPuUS00FTQUeq9VpJuZtMc4EL710HhRcWID
R4jU+rAUZ2egHIuQfQlRqCmMzZy8SgnGILKmvq3qvLQGnF/8vjlKTbzy2pTHT4MaI3hk3hM2OiVC
HywCUahBsUL1LB4Qg6LQETeBx5SJ8IFYDhkRg8xO0ADpVwNSFI9PVaPDQAVeAugffmwEQvWfnzy+
jqoqtI0O2tTjtx8fHj+QGHu0PJdX+/fD4yf/fqnj5+qvpmjzX9//X2//+OXHhf3X7yRJvJelLvdo
87Ur5/F7nLCwJh6fsu/DLf33rSp1tTHkISRYxxmo6F4LHYXhxws/PuAjjNbQcof/fqCl9r+/7CC9
7DAzhWo1Uf4yvrLHezx+S/m/v/rP95SdSJxKmkzpvlHoUnTLhznrYNlFi8iLL1LYeXzz8TuPD2pN
i4X6RmY12lsRzmg8/9+///fLPqEg2rUAjap0Mc399yerQsNVlhF6gPAe+LqwohuxWnoHj+/p/ZhY
QwrWOhkj323oOf3jGPEwiwizke7O49NOCM45ciRZ51VDeBCOjfLEaTWrR/KJOL5AftCQgljj596u
dwhQjJ/Ds/xKIepU4Ohr9XsiF9rsl8zLfau8zlciUgToix/wZHCMLCLpXfS2Qp0bWp1xgFMZ03Eg
C7IQBLrHJ/MJLcAZkeux1J/TN+Msj/P6hzolRgL1dIASm1l01sV1jxbU4HZ31i+5Cvp2EkolN7Bn
OMZpaANsoq+BjSdzxMzTsKHYIQzDp+1Pjk0PgioThEO76G+oS1IIDTlabPm7OfroUFmNJ1/ZStb5
4OKEBSRo7b+Xb8ke7iEWW0gtwp+jxo/fH2xJjrRj6kFuWr0BtAtpwMCoURyN0hluFef0ZJwRLoyq
deK1nSvCnAlIZsNTtitegtYtXhY9OsR3gLwecvgPMNC3kvSBmvAIzsSYUHU/8nGFaz1SY3f407NG
T4KX6ccteY+2i7zMo7jfCBvK9qSscClR46qTHfsoJnygWmSsCwrCug5vA051C493NAbexpdYvAhf
ZwBarW/PGxW1/336mt3YoNNztF5tCivF+a96xuhwDYIY/rZh00VaSwS5azoZX6b7oZsnpHqQ//BR
TUS/ErJMZ6N52Ir4diDPJ4E0QyLPIsW0YabEX6iHbGpn+lBOpfNDYhoczGM72NNHDg31Riv/gJip
+nxF9PSESPGB4ulIBRjQjyLbpIe4E1tndAvrjWGfIS7x7bUCvZV7xG7DUs7+r7FF2d8G9ouco7FF
zdfTztFR22q/+Tf/4uB0r68wf7+jC3RF/1fo3PaqQISO1/45cGj4rAm/GADEdBvmFX73GJ5BZrbv
4jm/ImFx5lQsMJ/YCg7ccZJRO7r5nz/mxTgbZxBkC8jSGZWtH+xMuIQScpBniki4kuku+PB07dFG
oVgeOMUFK41bK1iumNiyfSueTsHLhwqomMaftdfR/jjhppfiBKVuNETWKVn7ayqyBtpV1mjRf/VW
LxNM+gvV9Ke7/PIS9VvBurfInX6XKOIVdnyKUNGyEFjvLm+xjaz5aj9jIrleYpHnMfRSCAt2xlrK
Lao5zYAUZoLSZyXcMZo4TRg1lrAD1tiKXAaAeHu8DSoPW7uRkSqOqT3iBOairttSTLqBTvqf71LQ
cIMdghs9OhL5C54PIqAFObZRR1oHuxmR+wuvG58qr7rD9WEuY5YClCwf7NEq35sDGYoEodujzkKt
B6NGJtvPMT6Mbm33LoSSCLuW+gTWVGYLmU7GcUTxHJuvDQA0K3TvCtYUaNkhKxyhAu38M1PuieWZ
VkqOutYnu77+JF69oS/xRs2H8xszAWxyMitDVc+eUIo4Ck/wfYQ17Tyqdsty5mEyy/aQyQMsNbAP
vG9X/Hi40L2k55WfyvzoB1udGscuyPbiTv2hZTXiMTI/Q+7zNx1yw9pmrLbRU3gO0H/VreI4roMb
RRJ6E1caB2s6ZLfISXZgCKMdeU7xTMDEyBUeQMM+e3bBIunfgGQTRzzO2zDcuwVuXMjTPd2K8iw9
d385EgrTqRZcnCOrDTrgGrgXk1ErTKv6ap6iF9qv0BjRlatv0m9C52j1TqRLKavqncijPjnbqxIN
VjR0MciZD+iJmspX/6suhkfHClIb1knrGwR1VJv/IvEUy+tveooavUtUp9XKTS7YwlzRLEf52BYW
flW+hbBKJapdhyeEp7EZKO3sXni1YBFbQU645+p2RtmVRrmxjhxEa49MlsJjVJxgB2ByuoQf3fPg
9fqJ0Zn3CNZayeK5YNj6vCY3knJ0vlyQj7w+Mx0Ol9J/FscVjwjF0I+kt3MEFCHrrLMdqxA+ApJW
84E1Ejli/iJvUJ27rGywEopxaMFNvcTUaxCEB+8PXRwMvod+wsijH+5wgdbI32PTIX9zWHIEVta4
h4nF5gChu7ghRIFeR+AwBpUXPGNolLrj90SkCm4PtxyOP+jty7OnVFN8ZbsZ0xakasRfGZkSJsox
dPuNssy9kgZW945Zib889ogQL5ZeKFymbzfsMhFlen44255euETxjibvelhu+sjWM/rbKNyw3rYx
3bMt3paBjRrxBn3bx//BgHcsTZ194LjNZRQXpyWo107yBO7T8p/zM/rZF5xNQ2UD7I+RwGVgKCxU
M0bNS39E9LyN+6ycVIJd/AC4ArC3APYIwBG9hfYJxzixYsFD23e4ZHdOBraRKxINi0IOvCGakCfm
Ocebv6vWogMGeMO0in+NPw2RbwDINWeUyxRqWCuVxwHlcpJyg+MaKw68jmCQonH1Ld3BK7Gdp+aP
jqCjZPnU52iLxq/QtWf1FO22CgeRCzgWB6sdH3da5eGdukbOAwwOesTY04rYlj3P2+iudqieNSUt
/qcStBnYtPDNBEHAHHhK3ki8v9ureGGh3kMbP4JgJ++rGyZJFpsnewYoflid3/p+QN02WLvBvvta
bFhZBh/Bl38T9rCE94GLcCYjaPUuR+yuaM4o6lOVT8/SV7CnoTpSAcHW2nlsTDabkz3qLoyy9P2M
VgiEnDUEW5plTzyc5oJyDkOI/OfyENH0535jG2tQ1pLXUzXCp8JYwPYOu+PCBVm3ABm+gEfP7HU4
9bn4NsUQ/S3AK3uQihZJg7Co7xMOzcUNxAUBz4K7yDZTdlb6dI/3gy1gtZDamn9Aq1nCiA6XnO5V
N7xyeIV3guYsQAhxG/BotXirKvuYtu4L6lDW3TM0S9jsbdGjG4waoWkiYY3fpoMeMiJKPHIZ5MC6
u9Wn0I3Nc7nRHc93qWbZvgsk0WKWv8h2BCbFGZ5H3AFOQfWNCVz2UwlvdRpY469MNinJ5lEA7iXu
gBkK+PDpwXnVlaCaMgcm0Vzgt8BcznB6gJgNGAQcxqbVv1Jwj8R7OPqtICTNb0qZOuIWJDbHFWWq
UX+lxKn6B3rHCroTnpD/SG/1ZCFaDtROAl5pLPhf/+hvzB5vFioJwJt2bDurDbYIp5jW+0b+Zm/j
PCGQXiHKz9bG8u94ctkztMvadAlXqgs032qkMLYlUGXhndh5QlhUu+6O0PgFsjlM6JKNA11vDEto
ArF5vDSKrb5U8PLYt1Wk9YkgnZ953/u0YxbrqCaxV6rXL44mzoytMUub4wpPEyLuFpdIpPCs+nUu
N6Wr3JW7UG4Q3L0PnmwQRnyWJ9a5fk2cditixLelYiIh8cP1zGuqK+vsZYU4DjDR1qFIXKPXtvKS
mgr0eqQEHUCtY6+w8CGO2MVY8WjzgVMBmUS8I6GEQS+CShDN+nwrsVqlcTcqJ0oqcwqW2BVe/Pgp
wGrwmNz0Dx+zTeVp7F2Gr/+FKvjPeLD3AQLrEkfhmj3OhLLYMtrpSSDxwNMMxxVCF8qP4rCtFOgG
DJwFLigRHJZ/l7wjVxy7rOcJhQjupVq/KcNGDQ4qaAZLO0470ek7HF8ORXIe91DCMEXFbqXaZSlk
nLugHOLIyXL7FomWsHJEwiJcoxCoWOPXwvn8Aa6re6rP0wWpqkFyxeKlx/cLbcXEpqgiXppogwJB
xxVoBGlbWTvKzeskvPvjpxFZBYrHxAwowN5acU1EeG2pMBOCQ4NsLAm8EtQE09WxzqwcAozJC7oT
Aeq8B73CnFdPFBp1XBYWEzT8XGw8fKqjv4weU6m4pK9C8kZTZzdViOdssZniJBjOqYuxT4FtAkkY
mOzSXm36clNnz1q4G9Eu9N/SGBkFUjgrt0eabmj4s5vhL7741RTfC+ZYTOEHuKl87lYnwpnF8A8r
e+SV7sYdK2HY8TgCx5Nr6l6luAkqMWnxFiKOEgpuiduTb4mlozA0J5q0AZJCOnubhVmDjIJDgpTw
Rs/2VYA8rj12f+QJKCYYr9RCIJlTagRWQI8OMdxBpfht57EtlmiNur7pYBSMntIIx1e30dI/LdMP
DxukX3LTox2TZLb6U4Yv8TbXNytXA6wSHyaE8wnCOEdUm07P9BxgqhseKEfjzI1+RgKtHGoi2gUv
WYKKBAmJgLyH2FvEiPwXpxAxibV5APM30SBWXxreMJzLVXLGLAebJ9Tke4jdyR77H135MvRzDUpd
3HFkryR0EL6Hm0Jt67uEfUYuc+dUklTrLiEniHNetxHP+GHQ/DogxsXuFfCodlS+8UdHGwGaRuwO
sssxTesYZRUl2kzEy8JFddvMxeNdQzXvWq+cLPz1AW/dOZLA7xXbaHzjotlzwHjL5S6gFsJRRMDE
XjenzyPCtG8cD5xP6/bEusEakxa2e8L2ivi1oh7uEne0r4iGs6NjQf8UfCVf7eFWbov1rfyVsZn7
ATGmwam02t9SYQfHFA9rua+IjWk68hCuOjENU/SdskCzrs/kspvomD3HaG9SY6cyS3r3Jbxi1T6+
agzSl2z3p1Fz4h/CLszwOMb0w1uJ3rwNUaW6GNv6u7+yl+Y23lzMvRWTeKy9Bgdxh24SXWSiVD7m
p+yY7LihdfuqbpbiAZqN7nLwUnX/jgWX7YZML8GDJi83w8v429UWIU0k9fgLb+DdqxQjmNWVkzW3
kVlZorXomhJ1D8MZYX0wM5tlQKlK8BVoOWUbGYeEfu4ZBePhuBwk4ytri3cic/eqC9tY8dx5LDi0
A07IPhjsWYf8lcXLikxdeuXUC9jTR/agtUT4NGxwqqYJvl0dEGhjlk130Pu/MCnA/mBp5ttwQbF2
cqlF/YmX1TPLnXfJSBrOLQysX5BJ2T16zp71feHpDuGddnxcT9Cf4h/RmQ9YpC1pM0F+idnhye9O
efw567sGf6+B3Bv+IZ4cRvxUUEIgLF4apt1FJqAyr/EHObnuYsSnbqQ7BSbhO3H87Ecv7e5Zcoh0
2CBzbIxtnkM+npla7YlMdXUlvNSs9hMRNRhvsnsStzxx3atP1Eoebmpz5C7udkS0DA706Mha/VA4
ipqGWJRiNR391CdxgbttuAvTDUjSTfts8MGjwcf+B8DzSNCkmm93HUVYR7qMg0vS3stIZdkIu3gr
GyxqsSXNEBNs40+1doqyPwRurrx5O7gmM5rjuFpgIXHrLFjTwBHfBLcAn8ZRrWJrEmCA+jLg7uni
F1GHa6JZRT4jhCh+atQ+tDPSZs2dCbT1Pe5BQtXBYsvChWfe9nbyVR9qaV2+IUwi/Cx26LKVAVzo
HWgOZ7ySJ8XyqbxUdnDAEexa/aAAchjewr1/rS8DByZJJ9ppEKKNdfhsofX0WutXENOoBX+NO0QX
KCeuM9cuJhvRG7TJsa6zOewr2Alf/h/GbuYBftiqRKF2nUSvA1xizWYlFtpbZNo6Ksb9oew/hi/O
M97mlnkqsVD7eS3/Mqz6VOpN5GyK8Fc2NFWt5Ja+vhVYoRyaZ6KR7oZrXFdYkrRfRJmxaC02IC4o
M7bEsVQHmvvUrEPwamuYazNSiHd575kvxOb7zCHDpC9qd9QwpcXK1eVBislT8DQNW2yFJmkPLDKe
D0BFJJdkguM5fyUWyG7S5L3pdMOYqVhBLAkdQdiyT+PSTB1kKXbcYzSsXUxzjlPi8V1R2gvMoXEr
0NBojuJMrdmJD03SMLkz/VL6zqCckQ8qr9R8S4RT2HiIQ41mn70b7WmsX3jqR5EGcLdPem71ZNZE
Aul3wUFQUYOLgxLc8D7TD+L0QYUu1+BSHPwcYtE3/1GRMYHgLP88yf4eyVjo+hdTfx6bvbbEoVp0
RqBng/nZG0RfI/xNM7sX9rxHR8Xf8//yE7P+h9qIqXjjBg8WAxMW32ZDO5DjL/URFAM2PmLIbKzQ
OXFRe9H9PTw/mewKuv8ndTpCeFSSr0S8ZEsULMsd5nVg6mn3rKuL31I+t9pre+WfpeK2Ua/mS5W/
oFe9h2uvfXbChsTriXmP50ri9XBPnPbas/3MpUMYxq5xItMw8i9xQD4MD8KcG7DH9MiOyttQviZr
YzGH7OqEvyjlb2J3UZODt4ofg9N+k1wCcQTC052ww1sKutIeZ0bswEg+r8ITx1Bhs6lqIE5o/BBE
YTsUbDKqNp6EQQxKqL07bpYBuXFFzcBGSiMM5ueSRXMigg5DRAnW52MHzI5st6/k6uUryr0Pk8tv
Rqu/EmuxrYEWRiBvmX1sesSl/md3CX9IXYiLqeWyQUK0KV19I8V7Eov9Hfk9/zNSXgkxY4p+9IQa
+o/f7G7jR7byen5HQ0VqD6Qfu254ea8UNVhai4NOum2CI0oz3bBZcUpfV3Dqvlc0sZEhpTTjr9zE
25Lar8cIrIgnKriKiqCKycL2iW6u4ze4fFGCZfepwXHiiUGOKrxnnECBDOF0x+GiONMONQ7iapdF
Jn+3r2DJDhQ8Kqo1BKDGJ9E9cqp8SvWfVIiQYkXNihgBK77kPSBXBNXhEIys5M0qPnWLnRxq4X/Y
FxJRJZpFyR222eCg3FN5hCUgIxBe66kq3Qf1CikWpFWwi7cfwis1UbYMLwl3lJS4LB4Q1i/DPaCc
87eollbApgsXnybCKnzuGFGAKQkpUrIjSfI/p+EoX/NT4nC2fTJsYnz1ibPIvw0qNAkqFZhXf4+4
5EYIFm/ZGha5pcv4zSuxraAgRl2KE37oTinoqTeNpNYykAQpDvK3Iu0lNjgMfEHFjssMTN6xpSSx
8Y9xctJVjxdLG0RknyRGhtziVd70r9k7nWTUfvF6fkcx/sbvl8EBxZb2GzUO8xX9KhYxXXYHnN2R
CU6lyeDwKUoqig4Dwt6FYSjFHhL1JR0BuzE4prFG+hMHUjF5V+srbqm02miGkr8mb/wuhZ2K4ALp
eBVFRo+n0as0l5yRkhBpNdaT+hlFDT7h7wZ0RO1xAwOETGJgmGqPlzLzLeaIhXqlO4PPt/lZCH8t
6BjUOKkwRTtq7aN2y01XCzalsiVybuR9pl4Ftn6uWcDNs/amYJPW3ihOy+SJlsyDLZvUevGwtAdm
ZU7v1+E5YJTVnuaetM0JBRSbbI729JXABNkN+YFB5+q5Vl6ZT+QV85l6Ok+3okBaLWPD/bbyhTdk
J2M8SraU8Y2fZliMqHYuOVQT+ZyUq7iIo6Ws3mIMuxTUcBIsaa0i/C3HXwa1Gz75c95nSVcQg1gj
xUWcJe8ZVu6I+4LEjTXqhLCUvOGSVvTraYHx4xl4zdLP0fszZyEjzngp0JtNN4b1BmSf/AoFQVtH
haqj2ENeXPIUKVHemJ28JoJlnHvQmQrxg7tOKTZWyTtlf77g8qmsYwrno3ztphJ1a3ZKTj5S6hX6
kHQzVQzkqGourGP6cjCus2eo/kSOPFTOeUYVDQGBggaoclY8HW+gLWjMwkBAoENymFvweE0fJXpU
DpdHxK7AVPJVdrhnoXmF8uNVNxOPDhevMRd8Ql9sROFPoWx/NJDqpIbWu9RJKFV2hrNMWsPRVh/M
Fb6k5Io91xIlPN6Zd4B1zyVg60lNQ1lzZ8xJ0pNSXtxR2au5UO51AhGEFn6CT/yW4eftOfhzfPh2
DCt/T2d8eaBYk+IFy1yOFllcbodJLztcFYuIn/ArPI7BG0Naw8ttc7c4RXNpCBgydAwB14hOAvc/
I+EWLH7b/BHXyyRYHhJSSh0WdyEtJB4gOSimk0v7Rpyag78j2UCalc2I22Q6GJ09HYcbb9y/0iUQ
yJhc3pfb4b+5eeUFNco86hOPh7pwQtasKFggn1gVqrJlyWfyvlW3HV0BFVVgmsCiDf6Nh8iLLQsj
sliolYrNHc26N32vkP8YLg+WBcJ78Is8du6Q21xEgOxe86rnQMJLgOqQM2ODBkxy6R8AAyX6tRHe
xHN6ZW6y0pp9d6Sra9qrNy3dUzwREooJr8x53twH9SwA5XQm/Ry3Fg5zCBVxPwNTiXhwo88HHgO/
C590mYsAUyg/I1VCcgr0lYo74Q5zFVjnZbirNSJQi+MwV8Hv8RhWBgooEMBRkF3Xi7+4a8oX/iAU
D4N5oF/H/OBRjrAzMq9aebwTPfcwJeDe4VbM62SOuR+W1aeT9nFVXPZ8oLHBskhKq+32TLL23L3Q
IA1qDB5tpNHbN4iTVD3KFnlSwhZQOh4tNrSsceLNbTn8gkzM1bGO1dAhchw7F3KKaFpltoLEsn2Z
TZvtxOye+/YzBibWwGGFJ6wcgbSJkotKUyMdUWQNZxfSayFuaY1jAwdiLFk5geqK6pVnzGX2/htr
T29e+ZLbXRBc+PtEG+Jyf7XR+3Ut2KueeUubaxlYGMFAdCSH5AmE44yb+DL8a+zdcwdda+akUV2U
cfvPCAPYFtoNmErGB1F6cuGktgbEp97HLVg37mzCLpRqMKrXCqqIHgsuX7pOVn3GFs5ABdhGcaJI
NivJZhaCKUAwWhIcBgzPdtwBeXQM1KIxDP1ndlMAnwwsOxBf16qzJFK5U3LdMTBxlLV2jCmKgCzl
fxZkg/rg2qUm98v98VyZlj59O2WpTw7p3vyunn3uicSJyRjtGFjSPC6J+18AQTrgIivUHJ9i/joo
ltwUfGSEBlh2mec9b79Mgp5SpoUwkYE2NYQq31OocpKVrelcSPg6mdCSKamtu35aD2ZleeyeFgrO
GeqRw0ukfbAYzX34A0o1e1nmK6qjJKnGFun3OL8t4qMceQlpxlohayuGt8SE9H8QR8RPhasIxvOx
7AzF1fplpNF4YSejygcRvfYILeQGKJxdMsdy5Gg95AJwaVkGXEMjwioxoX8PyR3Yy4F30WEEPWVP
LIpp38vPQPqrN+psIDlMAwlLnBNyKkTPeup7LINl/Si4h4IvtEvgd2eY0kV34Bs86qra12gP9rZJ
4xwMy5P/zoiK0hFkV0zlXrJZAQV7CEaszUZT4T9sauN7mdfyM8+SQqtIQ5S2ZwX5i0I9Ik0CjkSt
0zUugEsquexAOWVS4FyZuYzbNBk79mFJMtn9SfGR1gTfj1aHiQWgnfUbVfGy1k4Ch+25UHZMQ+4C
YUoSaIFAnQVaO9jTYC1NRBpvzfCpDQCAu4HI4nHa2INKwUoDkWnE22L4En5ArLCNKfcKWVQUYV+y
wmkYU8Ib8wOl7LKxwSAuMwkBPtyQF3qTJR7Rs28YnnkvB0909oJq34f7KUef+QONlaXrRSkhdEIs
gVmh9Y69SqLk1C4HDWsRmxXlizKCSZvGK6sNE5NHwZQF8U9JKo9wz2QFqtT6CLJ0RGrRj7hwGKF1
xmyniTcYe37E1r7EHHi1PAvffG2ESDCjlfamcQslqkIWJ3kuctrvhOQlpWc2LXfBbxY4D/KlZpdY
IQCMRLEKsLWODT1KK9ay7gWwn59URHh7vbFZebwyHSfO7ZTj1CokZiNN/2nZQJYzO6WStmUnAaA8
Y2CGnTnFIPWZZQk43W/eKzZ6rLz6ncRLQb6PUB/6YcLTA/HlZ5Zui18YdIXZQaB05IYAO7AqkH2b
K1tDP7zdwS1Zzz0PDAxMt5fVTTBshMkVKZ0HdgkxkUYMOi39HnFnCjkMt5A/+0RcbCyPzYjFWp7T
T+YMS4orYyea0VPlCh7bOZsROwePKIBZnG55aOw8GaAVDYkY2ksAtezmC0AIGxTnnaBu+XWk98ib
iZcREAKzllnF6sQ21kXH2gBnTGyOKKhF2MCb8a6cfRTL+JIxJDhjtYgjOeqZDo5qUrZfmgw8Vv4q
CyDmgBk/misOOyg58YhQpPKOMg/9zCXe46UIQRKPLSSdUZVfRBPihOpwz+wPBtTktqwZ6mmp/PUC
JoCWDJEYd6//sMmfqY2SrJOvLsc3yBPKnyCL0ANdYAZtA+pvC9KCYjKHc02FCfHnGQd4YWW4xojQ
odWgRoOqPZuHamL5FlTw1OWqHRnM5WuhzukW9aoW8/JssFU1N7uuriRQwjERkjY8zUYKiTJv9Z2K
9ksgx7i6JCA5MYSJvFJTsBUY5R0CT/LOXFwvxBgQVa5kWwhrt7iFRpG1k7RLEBhHaiPZikNIo1uA
1BJpNcbVdYIsOz4Hu6DzA2SdJYzQ8kEWrR55EyY7hbNaWw3ojOD+FGmCu5p5IqhbXQZtSK3Ab3SI
FeMiL6fICBu8VYpBIrUIMRizj8bmrP7WWfA1+BwypczpHM6Z1+lOTFwTBAbaBICm10NrIl6kr15H
AytVvJD+8+e+pk2unxinx7fqRM4IcsTXx0tnGGZsRio3+UILyqWx3WUNQm5DFTFkXX+IJECUyf//
IAUzQMzH122oAwaVSmR2KhZurZTVLkjC//kgN56qFhwlw1QRbogv//5CrMU/xqR1+H3lNIGWD3U/
wSn+9+vHZz0Smqh/ZNtpEaqIHhoVj09TsQDQiE5wjKrNvBcqkJ1CUk844ow17CedNRKB97dbH++n
x9UaAojQukparPqWTx/f/OcPl78G2clP/v1mmfjbviYHa1G9tWrcelB74CIeHxBoxmT8cTmPTx/f
VMvqaop0EkcZtlKQiUiVKZx0iL//58OwfPlf33v89PE9CVdpOdYiT9aRX8chxc37oALqUmGEjvib
HgYCO0D1XotSg5RfqCMmAr0gaAZb7FXVkjRQ5uahiw0Ne2i98BokJbGSFGfAYqqxlLdjKgP5+IdI
Uk3m538jvZESEVS7wjdbZ6hUGiMzmLaYElqsI2ZQ9nlwyhd7RlmZSf0WIl3YUPNEuo6QvIHZtBgz
IfeFwm636N4M57LlQO5FFcP0tATTPJESpZifLmxCQ0nQrsVkwhyN76x5rVUKgmq9yt9EWiFoxiOL
muHwbVQx7mAljRCKJEqtPU/S6oyeV+HJCsDXavDX7Uh4MoE59NQa9Qw0LjRSAupzxeTKIbK+kcKR
VvTdSwOusqRqZSS4/JVZt0VpXoxWMk24urL9saNraJBroUC/adKBOlSpOCbkPicbGelgguaNrmiN
AJFd64ckQDR+SqrfsRM4oJHqRwJ8wMudZnosJHTrOYTgHuoWXYUQCziyQrwl6GNjnY4oD4PaG/bQ
Ux81RZytBhAh2YoMA0Xv90Jst+DpIw359yImfy50PdquZjBIBVVmgwKhNqCZhwvLrS8YtLoaFCqv
77JJ7pCPRJsi4l6QFe0+g9E23uAHIu6h9yD+5XUohx/VhJBE2IUB2qqF4qUFyg1UgNRVom5GGeu6
MiV4DHMaMB3FKs2nHzVT2xEj3GM7LQ6gNHX5MaukV0wabA0qxNaghAjUCwatDvLIRJcDmb+6F3RP
DIfPouOKBSEBFCgYh64d1SeRs0vvMBcf8dJTIsCeZZh86i3RqKh+m7GpHoKOAy5TIZqWUXBdaWSG
4JgxUZVwew37EQ/CPN+bcg9RAjOvXlcLO10t4f2q8J1gyNMjdLChGHpUGnr5mEvl8zx0IKRo9EJB
mfcrXf2oJBkoQS94ZRcVLCBclQw8HoPgechPjayZ12gpIaqOiXLdPhsRFI+KFidjFUm6/8femTTH
bbTZ+q/c6D18MSQygcXdsOaJk0SK0gahgcQ8A4nh198HsPuT3R3R0b1vLxBVlGUXq1BA5nnPeU5V
XlyjuSnlDseU6gQZutZ+GGq8Knx5N7Whnnor5r4X03udhV68nETsc2KlUXPUr6KaB7j+ZNsSIX7V
IOeNEDRYJ1mPGLooaKpSmBkoWoLcZF4iReMd5KdtMtNpUioat62k/0qnCVOguUv3icX9dxK/VKiG
49AQ7CP2ce/o1D47kEnDMmP1PwXfXYdCRCMdKFQPYVF/zmu118Lyr01VX8nTdBdyK6D2rA9nagnQ
VAhn3AKYNWBIog/Ida3kYCQa2D/Jo9yqz+b83EnCsy10tnOBOYKY38nTChebPbFJqpKlrke2ZxJS
9IsG7i/YwPkhL+UhsDLuBE37MjTFt0FmRNp66zA72f1yppPU9c2da2Q2JWbTDy+tKF6Ko50XEXkb
iKjUVnsYWX8L/2g41nGIAYKZkqhN4eP1aOYBfg73Eb/T8XYOCHtTAQv3za2xgaiaBGztqpPRs95y
bRjqdqjOOQ04pHyCaZv2EU3hYXuyTGM+DU4xPYkoOiaVe+EUyX9kgX3z6Ieyu3J8oRThoHpibnJg
sja0yIZR81W041F4nXGZY2waYBMJgI0zUAivfZnMbDw5pnOt+WiQHHF/hxF9zr3z7g7sb0hcgfrw
WRVZ1nQ/Mt8dALzB6nLnB1c4XxrfalE+5vjUgOhGWkSIAtHPnpAQlqygdhmNHk+lRdtMGTFFhiAD
nXtbOsR0zFp+msi/nqdQDIc4ANA72UVxnlnIyKxcOr6cp75OPgeWX++5GKcnO3mRYWned0F19cPZ
udjMs2Qa25+7STPUwYrVNgBAKFIbJ/8XaCJoZkP8MUU0tNlO9FJuQyKnp9L7ZsSzvvpVeQvqKTvA
gIhJD5jfwaixmw+YZ3lVczUrOkdSK6KXS7PPY5IxZdbNMmYum54e9kaqop2VV6+cpZuqNiq4hB3b
cw35y/DdbBe3BlPA0P0kaEDJZlfuiJS+J2NwTVrbwU6bZ5u5YtlZDjFcRHa7WcrYpRaMgbzUkpc+
0J87OiJPIQkdBg+LREJ2OGyS+Ban9V6o/KNVFvkAi5of4DZhMAxLAUgKPMf+0uXhsIuEOx4GXQEH
V/pUuxO3WmHLvTuwPVLUUeZm9mppB49GOz0ZKmQo5tAynNN555dlQfCRvj17BAVYc2nphbb3g2n3
VzpEHuHPfR3L7qHJWzSCdHRAzukrhOLw0MWRRoMeqKOe2odEbXjzyoNh55QDdaHaKulS+5hOWFwM
Kq8COzjZo87YWhjNuXMJJLUSUaHu7Owz8Z+HYRqv4MDujURC159zUhAs6OsKMJVLWJLiLBSUxCh+
FRRIZom7Y/0uvgcm2WdO9udCWEjlyjvFrNCP9G0s/Yn9Fe73s0UMOSwauvxMr8DAvaXTKTlWun3x
Fzyrhg5KPyabrTn0fsYzq83S67HKSHSqxg5P0kTSTAvlnujvm/x9OrI5tDRWky7CaVp2aHNezXfG
tPqDUCUu80TfSD2OafFBcB+qsHS/V/Nb3WhvE8Zg9AvN7y9JvMyzH9+m6MFzc7wN/Vcod5hZJ3YD
9mWak0tXN+O1AQaOb/hX6EoW5mHTvUbG80Br5Db12xpeov4VA3f95DNZMsu4Byfgebcw1D/DVgUH
4+S41ZFKA7hc3YgMMJenOmdJn1r5JWooRnLT9qfV6UNjs9yoPUTwxpvfaExcSjXY900TX+Nvqm13
Ipy7nWtpxs1WwC1oTu+t8TY5cXTtK0aoXuLsB8tnQKjY5LANh57IhncBzULCgzkUqa9N7J8Gu//K
DedZAgOmtASiBKW9fE93cM7ca0Xf5GjNHWnzRWMyy0+jH5enBB/clI38kjYBXxeB3vEF48HWIf8s
obvWV5cWxAfAqvUNMAGyPjhyH4XAizS1MmP14FiAs1Kf0etIECeNwL4MyRxwbUp/eGWQXJugxx2U
pAcpXSTX0YXwMJj0FKttZG/ZI7kXawQIqybrCyTQh7kf5M3Kmldi69wnPdybCYF02+aSM06Ie1Ph
P6aSjxJQBK4m2wHlEzHnNIdqK60nFLMuyyHNdPTzzGZxK0SboIB3aHWycndZ2J4TrevXFtvivmK+
Dt3hWcoG+UJUfGQZCzptMqWvLYqI5oamwzgDNZ70bIcBNNJ/5J4Adton4fvQe0FA9gB6lsU3yplq
9We2ptWhJYaNHZinuZfRtZW63yZIPnQeN5eBkDGipfWtEfVDvjAz+3nuNsuXR6YTGMyQN9eVYvHk
siQ18n0hx2kPtNAlj80ywuDKlFHSMJToIEEivpWsfXdObr7nDUzJ0RzAaoLtvMTwpH2+pJUdchlz
OMGXkpxs6K1ToHNqK0tY8pLLZDGQtHA8srJB+5nWMe9GYyi1y3Z5LOMlhoDhs7Bc6zIG871pauto
A4c4sp92hnlZFWBdT0NKTcSMnRFDGBvqs5U26VMf+8kh6hmuU7jQHMtSARmTk3M1gxQAn5aoZnFA
Pft4kgPxI0/1bPqgIZyzTEfcr1I0KSCKwpodlicHz8kmot9T+OpBsN3MKZjvpLTewrdMEcFPWNRv
pZrTawszlxBcwT3PNoP7SaVLXoDxSeBmL6aJLiKFZT1WHmFYwdKGYnkaj8bWIynvwIIQKtxjA0wO
VTBTM9mVF3KM7/Wk4rM/lzHKCdUEsjrNBoznvMuG/Vxa56DBue2rtjg3yGhFyC9reuFD5/DhLgVB
tTmzMXTBfg2eiY1swpthJBSqlkX7Zhgg8Bxb+6xZkubUTNjR2UUgOcW4/ru5O8/kX9ru3rB1ePPM
5MEWg/GZ7a7DvfPn3LT1RrQXLWMUG49ZY288l4WCbsZGQfVMNc2A23fWMUUv1D2boW2ROj+HNJL4
muk9TEReMHYAz553bzoYX5EdXLZPHlc5tz2WqqkJUPjVNeidgYFEdkrZ3J9V1XBtqaNzy6TfaMzg
kNapJhPJx0mk+WDMeXFHfd+yCzU123IH42TIzLBn6VxkOEMth/SJNeQnlXfOoxj0SSOPaFrQbtFk
YG2nG+Se85PLaeLMYImptWKdxnJbGr9skgUXz4rfxpjbqhnxbeRs4QvNEnapIiv2jVXuW2yvrcVl
dJIUZlah8PgXmq+lMzhgP5tv5uCCBYtjvqJVxSRnfrNi8yVKGBXOmrG854P/tTNG/cFEk6FR1N+i
GOi2M4YMKfGatxX2/6hm+hFFmm1Xnt6PsfPJUIM+mP6kmHvQEvVjCLFfT1GFVcMAxt059G800VM2
T6/zPBEh8xGA+zK/L9r2ZY6Ko5GF4afM/dJq/XNMfEy0EVvJCpkDLCmNYjbard2a53bMSYfgIAH/
j1/BO2svvUXN1bHMb80MkiF3/IuCNkB7m/Tw3urn1s/1U2oO785AjMSjNA+ggu/etSpNP9Fz9yaH
16os3V+z+FTE6VM+NmBpi5kxUDIuQ2cmQa2P3JqK28gNCaZt96FrXx87n1ke3BrNnX72DxCUQJNZ
OBrht3w3ZiYLFmhuTVf11sDDt7PSL1yw9L5PKE9FJkoulY5/xmX2q1JhjapbPzZW0F8LvJSau6qa
vV9+a1q0SAnmkd38+r33rPHe7A1aJHiT4FaUh9oJ8AHsYOHbj1ajjyrN2dMM3b7gCr7prfGqNY1w
duiw4I9ucw5dzteK0UU1H0foGptxmogd9IAjYnnK7UVzWYKJQ4OIMXUVgnhfg5ybWUzZ1QMZX0YX
9BzhnRVvhe+/O7lR7pO+/VFIPnE7DqrDNMsHJ7NQpBO1bw1WRYq9XeURpREGacC+qInoYxgfBSQQ
n9wWnzpfHxFt21Hh9UhdpAId2VywiQoY6RTca7/6FTOm7Lr8ww2AQfaSDCrVggZXmsA3vxs5diIr
hAA5ZcyRY4ZxhgBO2TY/CosUFMUEU1uXp0aUXF4FW7lAR1/6tn0b9Tw/ZO6jn5M0hkafHWB+FHgX
gSoZBivmFi3d579hZO1TlzY0fQ5tf/e/oLf/HujN90Cf/d+/o+T+CXpjIvVPyNv6F/6CvPnmH5ar
lCU84ai/Md7kH5I9iyVtZfnKlgvFryibLvp//yachfEGp1c4ni/5e9AG/2K8CfMPlAYf8VF6nmCN
Lf8njDdL+Qu48O9gQx8IjwBU5UAStBWtl/9kvE151+lCxR484fTLyMyoayKX0bSx6WuffFqQvHp0
IVw9o7228dzirXf55k/2d6Y+JGiXvSiqzi1M2J1W3rdo2a069Hil8UvMGqSvso9p2dVOy/ZWfeuW
3a5g29sv+1+17IQBaDCB8ZxLZTbXWAPa6YeXoDHTU17gkO2H7LNtms7TpKqr0Y6w4gYKTsIYAFNh
DAdZBP45HbxPokLKajpFPBCfath417BRlECzn3eXnb3TGxXTItERmXJ2Rsk4sLLQCouU+VaWyS+R
n5jg5MmMZc7SKxDO966ytonEfRhUwnmqC/muJGJfG+n32O0y+FLuNfa78SQQJ+DZhHuV8cVzwOUT
WnSMixDTsR+6r0Ps4IdkvagHmEHuwJy3sMaXFO9j5YibLfr8h+PLBVhwDMt5ehqDwjxZPc0XTkZP
XJ7ibS/thPJD78y+xtyHGgUGORjuG5pMZkBesqoH+NkF2L5N7Y/xVnu4sic3vjSVYnvOmOUOwuN8
YaJxFNlpQgQaVzXIPfqLOsSWZ+cvepGHcCQXBYmiSZNeOC5F3MLvxaIzgTjbjAhPAgFqoud51wfi
0GZRfrAQqepFrWoX3SpYFKxh1bIWVWta9C1CQN2id/WL8mXNz/2ihLUkmBb5yXK95JDF6sJEzraR
L/wRu43qcHBVQnw4TnFxgqG7FEZzTUaDYu3B28vXtCODMvvjLYPyhmYc/RBDrbeNbZ7FouMhZtwL
t2QB78bjMS7fDV7epg/NlF1vbhxMtqjFogzGi0aoEQutInABDqDKIJieWoVzKHGaYgMTotvOLpm7
GL+11siRJespJVAxzDD4ZaFqH50UAme6KJfpomF2i5pZIWu6i76pF6XTXTRPT+pvhRmNx0x0tzSc
wTfDWnbKoYNdTwaLnrXLbMsdsRmvpICsnB5Q1cInmRwdjfMnahiocIJhsSHDVnlvruHMl6nxcCIj
S+CDeGoWDVcvam5ifYgGY29k9MHC/TI3jRGg/BcMxxSbIUZtxYVv3LhFsrzkoiLS5zeMfrv4C8tr
GFeppNxT5fJqlj+NscWDqPOv4dQBNvQIQ9sNaBDm87ZPv4NpB2zvq2QbxjUgMYhXjpcjEXfWsDFc
42FYNO8c8dvLuMFG5in3zG2vWd1kApXcIlThSTngzJN7WQls3xM2Y1aa6Oshu5Q07Tcw4t2j29X7
UWXc1jWqfE+aMR6ykFq19K3LBKVpmvwbWv70Lc5irHxFCtrKe24GLlzWNGFaqc07GtsA4CyBnYCz
Bm8IjcPxcUjQlKIcc4NtE2ks2yeQhh8iwCmIzhvGGnbRuNQ9me+eRE4BtgMPoWLMQC/kmOQ/ed1w
IVJ1qkr2EwUTM2gN7JNVSeMxgOASbYhkaxshOn0dydenQWvs2pxBh55x45nRS85Fm3bZDsNBVqJq
LkWkDby+zXNTYiebA2xIrhyRl55DIucgKeOTXWUPoh1Yw7nyp46ieZMxTtkFssbdvkjwU9oDyuqw
6XYZ41iZgGBYaMZZSlhswCPU0Vqdu95mkIufRDxIHytDgqS40SUD8z5I2UGAFfKhxG26/K2al+5y
6dbUPtJ2ZLLaBKx3bW1wBVk5s0ifKO5hED+mAZnAMNznYvK2k2y+yZHzR4z8lnWnKgbd6kv+ziCE
3qmC3vcG6kpqLhz7crr6MZudPi5+liMus0Cl9yyDJpxmnYG+GNAgC3YkWuFGQ3gnGsomitzG72+7
JFGM99lHP4zHCG2L5sGtM7yz4kM4Hn1GZrETvnLP3aOpPs6ND9Cus5Zs3XRNEiplsiL/wR7nxTCD
izW0eM+IJMnQ1gzd9Zd67HcGRrPGSiB9NNYSaLMvUdaGn1jZP9e6cPfziAHGES5lwH3tQFnTsEtI
x06MijAws+JUrWk/4HbUr5PjBec+6VCGbTVuh4lcWVuhBNIOmt+bioi1Y6OiiBbLSKhI4pVifgzS
piMoUV/ph+D0cU0UqkRNj+hhJSc70kpMQKODjHgXhMo/e4LQFtpAdzdWLKiBdzUbVWMwYJdHi7BN
AIFYK8LbyZjAN5q+R1SjxcBQRHjS/DbpzhrJV2p3prO3qjEw5piVyv5CmTz3BG/E8mxkL97kAUPU
Nbv9iZxP2MLI1uiBdAnqbW8iU0obmbKbed+aGXayq8vsngUwF9+g2w+yucV9dc1lKC7UmTab0G6v
kono1h3p6IPgc5Chcz9X/nC22cnSxkPnbAzQ0o6POiCYLg3wSKMP8ow7ew3BvziIiqE3qxZj71lA
NZJBckde1J8yeopNhR4uCsrOcVqpLj/66D3Y+EEmeo2CcNVDgMgM3Gz0XOJmqroTVRDbLCbkh3zL
ieARCIps79ZXwj42n4y4IorhONXdFIefAxXhM0E0Osig0pshWgywveaWC9jbldbVXeqnoiRxb2hh
JAWrfV0Z45W5HqqRxnOaAuWUQ0MzDqVDD23MMsCHpGBAUQgz45MH+fQE5QbXkiEJmlCdce0xo091
GG7dbDJRTWrFBYg2kyihw4ROzaT/1OEhUWFlH8NZWfNGZ/RIhyGOxaCS+Iyibv7TsNA33i+7mwgt
2qfVvPDbpSDaqYYw0G+UORaApvSnUQUz+DLywTXDN84yMpuVLQn+o1Juck6zs6ycbwksPfJtGg8i
5p6Gi9jR7Myja/bTeT3MWW9hvPW/U0jX4sbUP/9WLmjmy6dNNxmYL0oscnfuj4FrYGnEeS2iMCP4
4cOm6dMCVx+ibNd6IAQYWTgM4RX3gdSFk2mk6BahMe2srvvRsQYnvVayYV9e5FgMGNVtSWdYgFVx
7N0Iom1qAh94aXJKeEP2/rA7X4J0GSr2FMZ6rledLb+9JiVg7vVZWHlXe9YG+UJOxAlF97w+spd+
jfXR70OOO9CpYv/YWwNQsuXQ/uvRZDvGaaHm6iC+RN7SiOI/O8wNLnRvpSdgv3BpPYsG4RRfTSIJ
LLgmMgfr170lqsf15Q4Km15Es8lqclm9M+vBGboEwMLi2FgPMowU5Gb5ZVwKOcQC49JVmBXHYPna
j3GD45W9DPdWirCTxQHSLj1/Yq22XB+2grc3ZXLHsIPzzbS+WNqqqXSjsUZT3zFt1oeZS1y6nnE5
suRjdbOUt3huT8jrz+P6A0uUj7M0M4T48evqbOL8LP/0OK1P1wNYWRwyS0uMMHPwqxRFz/MANmep
ZXG0qM7uclifNlP6blZtvfv9o7RqEDt9wG8Q66o/3wZ3fVvW96q13auLjLC3PxcN1ZWRS4VtMLOV
B7qKZze2o8t6aJdHrfdRL10c0UD2LzWB7aQhe5SScqnzSBYQnrc8rmao3wd/MUiZWFJoAZxfcqMy
zlUUGWdakTnnYr6ftYHHgBpYCoM4MDduUKrbdwrEB3MzDzUww1YdV7tOsLh31sPq4/nzEd20oKtm
W+xGo/u6OpPWg7IWmpxH/piFI9e+vq25qvszEwB+Uxn39xTMhzThzcwUaBZ79tUw7dc/1MuX3alH
5of1SHBgNT71GakkEzzzdr1OyOUS0Sw+qPUR4MYKcMDyXHfha+wN4X79UNbPYv2g9OK+koX6RNkM
EL4gwS9VSyL7sGL/dHz9h/O3HQb2VC28wt9/oPCBs2w+2X1dzOhJnMgjV43sTkw17lgWBN76hnAf
/+utWt8lf6w0fcNJH53YTvz5Fqy/5fr7CuYy59+/OZdtErZNdMqRdCvdMGcwnV8lDF6qVQpxVJ31
ZLEjVoIppWs3izHNJ2g5i6/tIvzZWu66DpjCVL4YBcXGicc0w55n0the947M5nmEbsdsmN4aFHno
vqGPTAcDKoUXsF2a5m+/D6MP51vRtNO6iI0Cx4Cc/fSuIRKiiGHasfusIy/CRnurjfreDoPHRrJ3
MyJu9II6DxpHgcjKk2jFc9mVn4AMcMdkFi9wFquUxbuVp/vZL26jviVF8dNS1qsZkkHOaJPaDEP8
JTdfkwi0XOZVb6GmhFgFMGMcvgKQYu+pNMuOpRifzGbjljXp+jG/xqiMd7mJx0RqB+2LnWfD6v2O
1c6+V1DmzNlN92HWL+XILH2U/pxUdnVhgnjrnME7hln0UluTomYSbzbtgRv4pwo7AvfXEK9Q76ni
YDn2Bs4lepr3OWFmQ7Yhvng/DHSC3ZQDb+m94dntMR1Nnj7jp7xlzc/Rxj79XEH93weRAaYnT6+R
O/5gQwL+yqAZr1/yzgIIbijYrXtejRIBwUsGjDHCxuATa0jYuw9F9jh56S+wxKRYJ4RqSCzf257F
ijHhLTX79Oq5C+oe14ubVM9ec6KO8ECJMkZxD/oIjeaPqULQj0YHOlKeLY33t56yclZ9+maOr4Ei
fNSFEDhYZHRNw1cC0ORd22wj1sxbVVGezBDHoqIR9ybrKo8GxLkrcxhjnUi/t67+3Ervm+ZNmCPy
fv2An9eX7qcmS89ebj5D2q9RF5xd1cw/U5s9tU5AlyRD+yQIhCcSBzmTPBvGavzaj8521PbLFAQl
ZfPkLHP3vWkc6qMc1Gw7wmTe9o/4SHZRuZ/FeOkYWfGF/2iXYJrf+dEWc1tqj+61TrJd6xIK6yNo
p8CRsZbDt6rM9jmvcJxOBDyZPCD9/Zjt9DnxFwk5lbdsgi9HpfBVBeMRY8q5y6dLClk31WQ3tBh/
Fj0c5rx5mRv1KbX8r77sKcviezSXs3syHWbHGHseswqWo5nRzokXmjXpoZH9W1nmz7zKO0v7NN1Y
iYd5m42XyKBaOQVDATi6KCU418rFChnPW4OPIRwex0ywcIRWRkALoo8DmnofEzl1hJ42rnCBL+T+
Yzy2b/MUnBUt4Ni227eGwkUC5ympEAmPz/OApTQ4xbsx1Rc7ruMDI4KvWH39bWCV3AqAeA/vqmzV
PvBIe0S1/o4lgouf0e9c28dCMXM5kD0kH5WRv2k9jwKlbZRCQo1C1soGZaKysD63XkEwo6ZiKkqA
F9oNM8wGuhjvWs06GdhwrocLsvW0Bd19nBjY3rWiG2mLMuuDh7e5T4qPrHbjjZbVmyfIbFTap3zc
eu8mv91GJd47lliM7QIgXplPSVAFCy7U9RYFHioOhLY0wtSWa5B5+uCkIxpRDoPDpKgZKq2BL602
rqYdXiOTYHDIaPWxogh34zfOoXXVsx9BEiy1rbfKIQeYMTZKJvnByiLcOT31unxHlR1a3CfwysRP
7IvnqyXia+kDBjBk/+H05E58MCv8J7+PbmMegM1/xRVcwqEXEJVtizwvfDwvIqzg/BJZo2ivnUds
+gMgIjrssWnHjndzK+bFAWgUMUuiY0l9h50PF5UJTF4FxQuTx8e2QI3NU2jGZicgH9vZK3eNllMK
IXAqrm04sFXDCEsG/RkG7w9pOsWNlmpcDcqQ9x0oG9NfgssGttI4p5y400ed6vCUR8gCHVGVIPA+
kiQbd2xD3A1TEeJ6ijFmDrsscqu3FsX6ymVtG498mm7YfCB7TPtmsc+LlB6lIPhUcw06F379EWXD
pnPgY+Z58x6houBB/fCSqdwaVACZzONDkT1huAGDoCWUqNwkKQespmbcJBAQuJDtc9aBMu7eeu29
c0sHPTTiFvNdAXkSUkXyK3XltBswLFzlwL0xYU3WCzq7Wq9FvdonLW7mjFsaX6RW7gxi7ZUiaZ6W
c3PnayM85wRWPP/R0n28dQ2uMqxqoaqbg81lEJNmPQMk7hsXvL9HnaoEGNHEz03q5veywPQrcxls
+n4AucUNMVOPGRtrMApgDgwxAFGhFqW/QbwnQyW+NaMqWGf2tMjlLhS3dzwpYCEsf++XOThjq3OJ
sBFs7sg12ejnG8Y457qMvpZmDQ2g2/q1u4k0TktnxvoUuDh7wjyelwkoEJGYRJxwHrBqEj2vFb+w
DZPTtLK9tuVzm1SKkXeaHGv36Dj1cDUkwSDfvRnswigNzMkoiM9FyiStSFKAsSUXtLDXj4F2NgDx
8QoGWPdy0PuhFjeHsxqL62FOBkiCzgBverL7PQnxPGu2Y5vhfcCtb0jiVlZWL/PY8AvVJXnXiguC
Ny6c/k641nPIqY99Gzfc3lXDz9RZKhxuLc3nd5pJwjajRXOjeyoRY7/fMGJFgYMbVlC/FgdG/Djp
A9Ya84xMBlfV9LH0Uu0M9kw+xUwdacwFDiS+pOjbdxg4y/N6UJroRVoER6uoPgsubMN2UBNQ685G
8UIcqnryaWjBtJ03wW6KU27+4Uc+BtUlGIR5UAGMmhYOFhdDKAZOduM2t0mj3r9ngEseZiw+JfpH
3F0Cu3Z3HUuiO1UBZwgc56XBAKAqAOadSr/7lL/As42b45Tpr7NF6D0iJx5m38wUl0KaeU9BQlOz
Zt3SxE9Oxutp1fBrjLCeh5jMck/Qj4efIhDfXXeqzl1RSTbKp9lkexV32Xsv1HNZ05jXtaAjnORH
ZYsfM4oHmUqcCaNgq7mk6TzPuMH8T3ZdGUBs7ImT85lwGU6LHIGA1bvRSz7OiIoBoA/DZHl3SKbP
Tl0nmwZenJszy7f8UyDLgVl9UkP5WKSkIX9tLLvc9aqtEDOdk3TyBaPe0wWJjSuS4kFZC+XHS2jL
o7Rm28Zl9dDBnDIXMDy7AWhqGtbG2KT1NZI+ea0chIOKIKS532koKbam+bOuIPf6fI55Fdn7XloY
sEz/+1AVuwQrdr1k5cS84SuOM2IRzHtruir6YGdEC78pP+dYDNlfTf0mspz23E0ZZv0qrLrz+tys
ww6piV3Xa7YEP5pVR1hLYtbnvw9xFXG5cLnSG4U6j5NVHSILT3mJ8L+dlv+CYfI/iNc9m8f5FsXJ
GVJ/h8m7oANuGvcsePg/LD/6fdA4GEEe4jgpl6REQkFQe9SCqISZ3JI5/+ohZezwpPd/67ssugI/
TeHNVJLH5BT+rL1cGy97pg7nYTnwAq6zFZKkXZowTfkVnvx0inM5nKkCGRYQPbrz5NJQEJbNmcKS
noEbk5H1qZJLv31ZyUUsq2kPQeSIzDqHjsdyJiQfc2LcBeW2mKnGW+QRdzmg3Pz9kHUmtmN7pjh5
2diLZSc/Bs4zaRNWanH22R3sZu+OwXBeD3gAx/O8IDTJCR2DZeOckEBC2uKwPvr9s9IcHpnhMzZT
FqL8sgMPg0mf8Uz6lCwtz3//sGiibelmFqCKoT/TJLVrUlkdDZfN0TxWEXd3ip22jQucjblud84W
paguPPsuoIAKqS0B9t8z3cL+WQE+UHi5l6jV+kgsT9dHy79R2153dHwltm0nGggvj56jEpiu/QI3
IKByNm0K0RPZiM1aBrvWwlZEvM46qUHqMvnUS81rkA6CfMhAC6MiO7X+LAm5cq6PrBFGstmTx2yL
/t0idrMraKE5exSOnwU8/lNa/1ifrD8WXdGdUj6xzoQMuR6afz36D09Z8Lb4seHXrK/PKMmHkei0
Wn5hc8mJrYf1x1PXBacRAFc7Q6Ngm5Aeqiy5t0TE02x5sesrptkZ5Q5g/6ZaXqOYZussl8P6dD3I
ugMo2jynFXfiHEvdmWzN+v//24tY3iRJpWV+txbqrn8ycSLEVMPA6kvx8XqfRd08+HqqNn1Uhey5
7srahG7GZmVW8P5BdEpyfktBl5LMOLC0eCEgvUrcz7lvsaZH0jY0ajYN4lfLBoIzesn3dMx+sAYi
5zcNd5ONadMqAae6xUvZcZakE07l0gKMlJqUAE09Despb9dYkJIIpiVJyPBQx22+sxAq9s4kLh07
mm4E0wvZSG4bGAcfeBzZbx7mgHiP3YQEUOlJDWE8x9ZLael3I+M3kPQfkVcF+0KZEQB11NhGq3PY
Sahl2vxkGLQ81RJQ0v+aRv5bphFJtfx/ZRq5fC/a7//sBvzzr/y7bUT84Xo+QRjTc4Xwbcv/t//z
Vz2gZdp/mK6w8YDQ0SeEi2nj360j5h/m8g8NMj5GYdfhNfxlHVnqAekNtDzEE+lZGCv/R9YR0/zP
1hFCj8pzLOk6ni3l0pn5tzJYxjOkRMNRXqwgODlJBgBC9OZVdQMXZC5IoRnLQzFVB2vqa/joiypO
tqOkQXy57vfKiyyWrOVims9O68/S5d9ZH+nlFvL7Ka6MjcZ7e1z/sAi+xYGoTmtP9FrTvT5aO6Kb
vndoMfuzvXv98e8/W/9VTH5oHr//Vle2XICc9NIoO5tBY9cDdVlU+dbZLjfirzovIfz6dzqojdPM
huqcmowKnKWiwmsj/lv90h5e2DqG0VoSXZZ1dWx8M6Pl2PxchCPYamFsh8iILpkdjzsp5Yfu+vqg
LB2JK0GEo9c3Yjvnrkk9Boc2WEKCXvaFbQ7ds87It9Tk/T5V4XZ9H9kW7o3OMw7W2Px19+T/x8Dh
n09Hhitzy86gnccHlYXJnRuBD8vm/rYuUyzKQCpJHmi9i66HjMoxVtY5GwlBwCNQ1M/5rg/Jgljr
ejDmJfm5PmQ4A6uQ37nEL00BC8mv3y9jfS3z8oLWR+uB19HtW3N4Wtuy63/1uK+P1p91QP1HxnrH
IqkxDjJ2Wiu2E1RMWdI85m0kCTdAd4yNHW+JVq930fVgMiO2ykQfR6ZZd11e0VvQZcZ+1tHith8B
C7vxeTb3sdWMbCyRnf8/e2eyHLmSbddfkWmOMvQODDSJvmHPZJOcwJhMEnDA0XcOfP1biLzvUlWq
Z/aksQYJiwiCTDICzfFz9l6bLsM0JsOJKPIG/mplbXqMVHAlJT1Hb8j2ASOcSwUg8ZkxMykP+jY2
hhDjM4FGjgXigAxAgXQDRYXZDkDQTAI9anwBOR59hJfoUKol8KMOAX4s46PRQpRQ1RYuwuDqklEf
lUNxumzsPjcPZgAoYnlJlmWwC/rkOqWPTP9yGZ9cNpH8z0flhDnTUg/MH17ExFzO56ySc0J/trb8
ACDukUpwFySRPBSCIzNMezAN+KJTX01/ytCxQqyZlS6o6qUgTYIl4csOv8KazOpUMkHL5+XG+2fv
Ko9hRFz2dNtP3f6M9Eq2pnMYUpeMRrO/d2l07SwhzC2Wkg+jdYhrUg16B0v0wEYpzOrF3d3n87Sp
KlQoeZUCu48aAOrL1MefAs6lelmpXd4GL7MgAlXVw7/87cUyw4xZAOy7qCEuZGQt0i3DJwZqxeny
6HJuevlI6/vykMEgFVDhHXog2MtIwJXG72aoE4hozJXRctodpfhIfN+qTsIQZbxmVTWZxXZGYQ/v
FVxIMiDj8fuE4Whf/fA1FN55EKS2NMOTMvCOZ32IBLOo9yi6D02pd9qOwLd2o3kalymJr/atSZCV
vYyXsI9VlILDgnCOS3sdTC1UFQ+awrjoaoMCnnY0Rc0WwTc0ijRpNvWAf1Iw2mqWmaDrIixWBVcK
JDZALXJt0cWO3/O/Fw92s5A6NZFSEwdoOYTzVnV4gQYZHLJBstTy0G4YQwsVC7a3tQwknWVzKeIv
jy6vBaM1bDPM6JezP1h84PXFIc7KHu2UDwUvqQaaKOgbOSYoXmtE91tilQeG50Tc/PmVMqUP9dBt
Ltegy0sidFCvG6guBvVuLWuNy4KDKcNwgiLnpmANiqotDwKmkjcXfJyXY+HPQ3eZZ/cgFcNlpGhl
5VtYSGebORGR0MTNTrFNjxmpPGiB0d103oxiOwvhcsbDTVJxhbCXUTM+5Q39uLvQgk91eStdBNMT
bLlRkvE1efGTb9/PubGVJVONjobjxlQNnZq/L71oq87a9dM/1+UgYWUdMblfiUYWB9OqjH0Wj/f4
tkGTZxD0qupallaLYbfHuhtJyG5CkFHYlNjmZjIU6RgRcpI2V4xi0DpGsmfRyFLv8shJCUAS8ILy
PiTtZclg+s5xujyN7P43XqN+myB2X0/Lf4XJjcuecD6nDFJbKTEgjYmZnatdSb/j5MXceHW61IyX
h5eNWF7884iELeREXDabuAQ6ypqPHAnJFM+l0I3pZR/xLebn2VT5ebL6/IyZiJAAo6Tl3+E8wisL
SH/iMqPrPj1GILpCdAZq1UVJusRLzbS7T9hbwlPMUQQmL38oWtTRHZDmOgjuGcUfmlnZWGFZdDlp
CzmWyUloL/eCy2soZmDTKDC4ZLzpE23LaW+ZHqG9pj559RCC0eCM30dhxShmFEfpq+tBm/owjno+
9cawGie6sEPkgv9qsQpEjheT22YdA1LbKbTjfc1eZyZPwzmsQ5j0WwxYG9xYEZiu0oDlsnxSeWP+
9UldniYUQsAKNIvadd7ROGvj/kHDXU1996aTQ3zoazdhTo8w4UQfXNWcB5cN7tR051TF8yUsSy7z
y0vY1WVTLCP5gMTUoweUUURLqNafL6Bbx2/Y5eqz0eNtLsBs25bk+tXBkrHJwGsb6yEtRxvT1PBu
MyFr0JavKjW8yLh8n1qKN2dsgAwZPRi3yWTuyxhyEo95FVp7ehnmpp3ECUX9NtLjs/ISi9jBPl1n
48uUqXbr9Rct4IBZHQEcgk5cgFxfEsc4NF79gvXoRxbpDKxNO+8X1amniHanHz5yMtJqkNcdVqG9
neDiZFCwVxXUGk+Gz7klr7pxng6+g7V1cr5QZ9yUE2OaPoLMOBDkh/Ryfm7CuGMcN+ycGXmWaOpn
f4B5JNWzwDd4w+QsdxYErFRIj9LEIZdA3LSZeWXKctiR1vQmSuZccxpuHeqnLZG0JMUU+SEV84DE
xGQJF9QHVTOlVgLoAfm2G3LQl/vAe1XisjWqGpdlaUNPq7fWQWedfVcn/lPOBIr/WSR5dRtJOmxe
t9x9Qm4tC0yniLS5DogP31Gu9luR4QVDpYrrwM1/SDuEPSPHeadnbT233JOCwfyigwtQShkfnelA
lFD1hsHfgvXxJ+SCVH/a/w0QkVyksPth0ZIlwhNKU1wx/CkGlM4zRUaoZ3+bz3Jblt0+xmNY4x+C
dXWMUgITVcyARZr5m26d12kaIV0nOcABe9XrxUJtw2ie9BvpvMnZ9phbTpLkJAFtDY38rd06xdEd
J97eMHoPSu/kdrTjhcCzWOZSbYhjzvv0IZM5kQeOQrqXi6MTTEiOPbMjUgXSkQeDUKfX2mfQisi4
2hmeh7aqi5/sGnoMBwGwuYIpRwdMirvqrnAHgIyF7+zIsN0kMwQMmRTQEY2dlCm3vDTZFgKcYSOw
2OWJqcg1Gt6CvnN3YWI+j96if/Cxp1b5wS2DnziAwQx67k2RAOpvr317wKDqMHAWuhyveySUBZIu
2rsWgZ9LENoc/lTBeI3FuloNP/r4PvNR7vgdCntzYBaTNDhJpuTJZcgA9cKEAs2sW8ryDtcaCMyM
oaI7srvWhLR5sn0T/BsRn62nZutViV7kfk8oHmCSzelVB88EcRL21QqFOfaq+VDaw/0UJ0gNJ6a0
jU2clhf+buOGC6GLZMIlEXDvD5G5N0ztb8rxoCP/dkjLkLO4R3+a49YymMd3guFi1UP66OEsRQRk
qKlMWJ8QG5UgI4ixFqeIMMccqnXu/TaMal9Z/OFmCwERzkgcli+xLn7FSc+vPdKGYcqyGDCxJdoi
+VUKMO9i6H9apqt+4W59H8hdGlkuo9frX/Hws4YS9Fi6ArlE7IkN7btkqvKjhUIevpzGYVT7rJmm
Zbk2aCIqiBNvWGJ5eHF3lx2+N5edvp8Wl++8yOMuL/7Ll/8fX8tlA52sksv8qnOojuJFq+Ysd1xL
R4CMLs8vG7l85fvp6GT/+WWfmpFwTXHdRAVAnpli7/Ko882K/Bj6Poy5jZw1w+XlyyZf9vre9fu1
yyPfbxeKz98/6V++fHl62aSl99d/Nj1meNf//MeXH24aXnycEqxOy2/1vePl6Z//4PvnDFnEf4hW
Ctba5bsvX8LUOOwj1R0Z+oXbGTBQutzjsH4Wpz5q0dI3LurHy2r78uJl873P92vltKzuv5//yz5i
iOQKJ+ZPYo/xpy0//3vzvS8yQyrM7+eXfZLlV/p+reirdIYzuuz5b3+zPoT9lwUFkM/vH6eCJed2
TO8rt3HgNI7izmIevCssuuVDS/vje+MvVdflaT1BHhwjBLd4Cqi1hmppo3x//c/zf/819++fctkf
c9jCIixZy0IYpybnt/PhrQ8m84HLUlgx+xtvLw9nV7Co0LWx1gvLyVsIWZdH3xu5CAW/n5qI6BUX
U8KJ+YbvTWHEkHFaPeKN+KdvuHz/v3uNM0bSef177+99zDC8r6oSRBv8klOSD2ya4hMnJzzuygj2
/7+F+d9rYboBPb3/2vd2/iy6/iOb/sn7hl+Nb/qriRlY/whFSL87XKxq9rf7LQj/4QlboCMgA37p
YNKn/KuF6YT/sFw7tOhiOr5vWyaNz+8WphsGNDY9y7V8E//9/00L07H/2fvmBraJ/S7w8MAx4bHt
f2lgOr6TMH8n7WfU0EWXFU92aQD5mgTlilCqMGahNDcnJdwfeaUozIIiOZj6XhoKmO0ItLVrBoSv
6A5MnO+QZ0q91R3lAgJtHGBOzmqzQl+mMIskWfqYGZ23ReemNiZQfBVBaBlDGR3HevxsbPpS/YzV
8O+P5O6Ple9/FH1+V8qia//X/7Rd8//8O3mn6CObKKtdmsfBPzdqNQpAL7NJcY5Q2AMN7zDSZvkh
Wpbv0aJ4lIHDqiOEcBIuWtHY4rW4DFwcAe1myGZ1KCzzuYic0+yZ3MwbBjVzlsIJalj9+RHpiQ6g
ttB68jvRroEvPBaw3FnLuHeXjcpxt/uhNrdRGO1cH9+ZPR6lsdTMFWHnRVpsc59O626as/FsqPI4
IWw9oIBYQMao9c2IxKuwxcanpfueOUiPm2wKcV40Py4TK3+ZYYX0fE4E2X4PrC49lykrBYyA+++X
Q9EQqpvHzIQ7Z9OG9nxwFjnnZZNI1kcwfJjlL/3oy+bSj3ai6F6zXgdf0NEvgbBFoF/k/CwPlbA/
hxJY+eSiAbyMA+Opfi1NGZK1wFww6XnPihCedOyb5qkywEgVPkKBMmPRpvvAoxhA2xF7av6wXK5k
HcmWmc5O85gEhHirB18NdGvLPDq5PiEDXsYtoFiezp0Z/m+by2tGJfAHTOJQ5UWyl057p5e9Wg6/
RSp0sDUk95TCDQoyKaGZTRkpLHZe0dqIj1kj1lEfuqcay8Hp8mhaWoDtC7YIQPC0aGhRYdCIC4pt
VR+qGGbkX63UkJEqkJZuMxq4gQAn+BTHc7iKuvrdzlDyX0bol2H65Fj3ZsdLMwzmnOHfVegLGrHJ
gFF72VQ+wnUnLuV5MDAy9mXLULzqny8vXTZxrPliPhu70HPuZ3ORZiqoBqfLpgq+rEV9rAqMPrH7
VmVqgDB75XscVLWpBba/2Tsl2Jg27ugBXcYzb0OQlQ6xI0PtnJuyuVLczGDW2W+B/9NElLrVyMpW
3yP8iobyCjfec2lQfVQjOX5d5TKSlDaSwQIh/sxkfzhfRhGxQF9TDos+vw2fQz/Nd1GR0vSnf9Hl
M/H2aZeciyn2YcHIH3HasCbwFMKXO/yS8tTI7Fr1udzXYbxJdB0c7NADPYSUX6RIxgwFB2ZlhvzX
jMRDsjy6aW906kqZRkMiee2sjQaXLlOU3u2JEYyCaSWXXjfVaPOn76fNGDxRTWBoyaT2MokHYLNk
i/nU3uUL3y+Ol1ntTPsTG2qvAXPT1usm1lMJAq005BTNBxoCZknIgl3Tx07dnRtqcNHtOatLsGRV
99zI7t2flXHS/UHPAVAUkKRFLwYaR4kiCK5+BNYznDEpYYdhsTcWT3U+B5uqAv56GZf7VDIuYVBe
PIYrX1U/yTknqItWIN3Cdh/FCUBXwyHPhLeIozjc247FFc+qi2d0fflOZ4oUoPijnHxxqpeNCh9o
1k7HjFbhOlRkxV0ulNz76oObD9uo9kjp1Pl9K3qxyRGoMC4BsJQXpCoSo9Am6Da7EkhCBpaLekt7
RHZg/XAw6F0a4iXYnGMYPyULSRWq0tnvsq8whqM6UfNmEXgHe/hMAayNc5zuAju9wgBCm1qFr4lw
1wWEs50Zq2eEG+UxGSu6JVG9CQIBptpLolMgSfG2U/+9ax2a3+jfibU3bDSJ2Y8Rtk5QO0+FrU7z
xBiJadRN2deLkDT6pL/jxsVb1HHxZeB0OcwnRctJNu3eD3KMq6a/rVUMIC90US9jn0XKuuAvGv/V
8Gd+S3vYpsLtOB76fEUNG236hLoPNp5tE1sat/ZzJI3mwHXiQTjPrYVYYFBAiCArUtnO6mHIsAva
wsMGO9VrfplthW6GuQTGBQNfLtSHAyopEw62KTZz3Xs3Fs5WN7doZBRmuZkAxPPhjB6YRonygmSD
fqsMB3RrOKOjmuxDLZru6GJFPxfOA80BvSl88zpPnJ8uNlIEiK2sPv0puXEDIhPjNmXkTjxxaBXe
te/RUM37et12PcGSAY31iu9wpk7cWA6UaUdiF46yeWYq3wCuBpfi2AwyMP5hS8/sem9O4S+dliBu
MjJV46bHRmwiXvKGW4gbZ9hpx5o+9Y5JzfZSewOLLQ5YKw/NtBu7ajqkeY5wLCSbKiJPqpT1i20l
jMxCmjzOFKKdp3xJhuaXaBJmlrEzrQxNglpuEKQFrGJGkuMfCETCoDZO2wCSzOLwI+Y8mq91gwgO
ikyz8epN6wwokatWb1mrcz2a8f13DG8h0ci1CuF+hb27G+acX2MyngSmzdVcGMa9T9KWClO6c7l9
sisCkQ2C4v2PKII+w5UFpSmhyJ7P/lZXkfo8yIk2f0Uq5eIi82wiO0KuWxiNiZYofkqTygxoNycz
E0EHAkoQ3Y2+XT/6lbp2Rb/tkAzjwnObbeMADeFStnO68lbbfv5E4hfUqRc/RPCT+chGpA3jbmia
u7mc6k2ZnZJ5IE0ni69nLMyjsMiz1f09wEy1N3r4lf3w5nXes1Qo72M3E8wnOSwtN8OI2lkK9Pu8
L2NIQ7Ift2XHxw+y1tnKjoz6Gi2ya6K1rqc2g+du2i+qvPWSh6jrxtsxDn7WBRL9ds77LZa4DAUd
8IhXFdLncfG9Iydy3L09MV0XgXhN7RCJeT9aWJV96465kX2XJ+PeLaPXROK5rqrxRz0iRkI896Xw
aJWTbK9Q1hAWS0XGjJ0sghIUvLK8adOKwj+mjPc27RcSMjTMBbFzXbTvAs86xr2zLQrsDLMkjrls
nWY1dgO9RD+F0M5kYeVlER5E1eLsMyiB+wgPVhx3VyKsuYX8cO3cBuqSX1m6vg4wtmBJBfw6t0fG
SgeL0cy6NePxbTKv3TGYnoMSnrTu3W3XG5vGbzlOCQFCMi7Ogg4JPZ/fbVCt83YuXhnV0gsk9MN3
y+tOYcyEwcvITgYgnTNn2oYi8d8F8NdqJeaYZpjLxB47DVJCTTDadFUJWFiUf3rVp8wRPDZG1eTX
ApZCh7y/yX8FYZCsA2r3tP3Nh/5YOoB7PFIcQ0XYr8FcXeVEBNspHOtwCQGwntpLnRenB6WsjZ6I
aVDh9Gumi7yysmRfeM6uRkKOu/VezPbtXAjrkBfmki5KFz/T4W0cFYdyBnLd65QFQxCtRQFyjzHp
p662Vh3797MO/E1f2CQAjNeBDzOj7BDld2Rh2VH/poHN0Nt/nYALGyJ99zvC7BMXlYTR7QC1YXX1
XXS+eXsHB5bkzzEmAiag5WdWJnFmxrHoI6aGkgQHo7mwyHGe20350k2/p6LH7lL4N1MdNkTx4ClP
+/oJVtyz1uK1qKLHEmDTQhP9BaVV7MAgNsCMn6tC7IV2g4MzRbRjDRTHfbJGmL0WzbHrOYOlUzCm
s/KN09JrXLpgq9Gl+UuhT/o56m5vstPtaGkEUPC4MCUeYj7lXRGoYpfNLeTMcIFTAJLy2rMzq+e6
rm4E6bVRTPfThMSzxZl45RYxbs7CLs4WutAkDD7L/n1s7SfuN3tnQe35Xv/FqOdYz5rjVY5khcxz
c6Tm/IKUBn05B00xIuA2/PA6LOOzkd0juxgf4KhQFjb+ppDzg2XLB1ro0co3426TeB9z8bPqMbnL
iDIIgTbH4XgVe9VDQtajocwnmGt0vaCVm7TV+TTSl9r0SAQcAC3GwXws0oEeZ9Sski4HlIKdb4VA
c0rAKQ3WfOa+X5ExdAMDt46z9AqR96/Ryh4a3zH3uXJYyXnyGqDItPMy/87uXCJ2x5rrcO3YXFIK
ILVIltEX6rSoD7OPjmAUkMDmOtP7mhYwzlnorJGVpmtmE+gWIRBkzMMmVVvrKHDqjWMSASeJVfaH
sGa+nfJWmxSScZA+1aq8dzzon411N2bU4w1/s9c4Yu9CRgsbl2Y/bEKjsn/PNYqImHkf3t/+pCsm
4r5M9qKl/x6z5MYGBYg7tbZV0r6KMr7VKcd+GSH3pYhpEv5onbs7s+Ra2MGdA3gQvrlOZV8zocEa
ajM5BM2s1G2h62c7jzEEeQaWlRggGeubRQr0SaLe5CyDF4gz+36AllYRrReaS0xoaDwkEZBwXU/B
3ggbclaEqtb0nMkIXN5SroU+sQVtVGHH01h/ihYBc7Y47gr/tjToFWpFTdy3zU3Q48bXPYHKtiTn
HGP01rHs2wKyOQYm61wb3pPynWuzCT4i5skCYf/aV1wlXAWuIss+UkjNGwZdPz2XODYzwakXAvGM
LSyxBfUuljuQuMWhx8cbOzD6KtiDyvXLHWszhN3ucMPFcY6pHGMr2ASyu1GFQymIRNLQX/0kIdog
TY9t6zls6IFMRAgk40fVKWKgpkPouHIfjmQzZEW8JuFDAjgBxbty0LOtslF9gL64AhL2UcJucHqW
iKUq403ZH/vFvxkaTHJCLn+25ZwFc2Kr/BpVO4FVpeZADLuR7dGJOyru3MeApcoPL2K6nPnTnYH1
hQ6At7VaTLKJ59TMX/y9r2dvRWgAMlBbEqsCSLrppUvXGtuTTCVza5muExMXekS0A+ofB3NutnDO
chQYjpfJbTZn+65Luv2gEXyCxrjHYv9UODJYA4XbthkWgaL6dPz+02Yt4uakxJkgb6e3Qbfmqk0F
J/34pvrgUTJvGozsxk4x+TdqEbiXYYRZ4k1QwZsj8qZCCyA4kfGq2vmAk+XWUKJYu039yA+mbAJQ
tG2D7NVsx22VgV9BYqU3ZkCR15VZsus6xHll91OqsTgi2jlZk2EjTwsLlrrU0PGVnwlwFRFcvNaO
b3rWchgfKpiJqtxUCZqHNAWPbToJAYsdGBiu7sbA4hLlUMpRMhZ4FQUpE9UAAY+Q11L3wBbn6ocZ
M5qBCLFNrBSufYKdVUGtXP7l6JEk0x5NintSVNmu837SQeRw1cStTIQL9RQkU0+qopm8lgZpoaFR
nlVQByt4RqqCaIiKEMSf5nSgLOhXncKqBFif0395I7PKfgmuhmrmzRA+JkWG4J4dtThBq5RFt+YS
4PgrI7Tf3BnVTZRhMB3L6hSOZr0I579Ukj1Wclcl6tOgF1BrFMF48yO4hN6dZ6KWKoYuYBQ5w4nG
iURt/5yWApt/9BQC8Ic3EfwoKCLXThNBMCmjewMWqqMjckxYFhFApm5r8Hm4V1A8PIQDKSwp8u2p
pNwYC4JNUgTGRdZGDCmwLLvKDVfdwbSHEmMW3HzpfEhLYl6y0Z65AuNnm9ms5blPIDjUmPN536IR
TVBW4uNrowirhkveg12zIq+ILNE12UBzTySZmzpiPXpJDGIk3Fb4YTF6Vr9Cmz/YSOQDgGYSOgdk
yFDJzwkypP0UJbRPbG5I6TMYx2c1WCTAhfVVNRof49hyj+3eJFZiWYkDbqbrhnyebLrmGjL0xqOH
TGUJLvgxxbfEiWx13jHLHUJ2Gw92HxF+ENGwG5cQDueNpHXi9+ZsGr8oLRKjfkBzDyTI0/gg6tlZ
Myonii9ArGXAhA7PDYPxyeENpMp/0laBgxebVcCNkrseydM+n10TO2oDgf16xk25kqwEVJ1JknzA
lIzRF3XVcFOE00PdkWOosig75ajBakDPfdMe2rC8sl2qeVUOGtnR/ITx/ZFJ1W0XuOYm8ZNPmFV7
H20pWhLvwVP1s5u492m7drz+ufTc25YhYI8DRlNTCK3OrsgeO4ezZaDqT3L7IW9AxQocSHmEhzMW
5xBXfTOv8yLlxqCinxGrG6OXtKr02YPYJpPu02pGVi0mvAEnP/ZlfwiN7tZczjWn/Kyb4qUUrCVm
5uDe0H3MpWGtUgu/E6vyu65vq+2ANKAp7KfIejR8F5QOyZJtNxEgiBtOGsiUOHr0RuUYBuNGf2R4
e8QsYFtZGOAa410bMFVFa2jODII5F5SQRNDRt/Er+OkjLDjBIhqtezfIO4Q9fup/2UCycaTQK7Pi
98QJ7yJWnIv7xy/cL8PIH8vlbzbG7sknqD7vuZAH8D5wnNurlk9qLVLsd7YqF//FNTFVlk7GHYah
3xbJaohYy5vKvNYxUUhOWhGHBIOtaIJo18C834ErQQ9j+DvUJeNONzTO6O+zAlF6kYei82gnSQsx
DWa4qWeMc2ijrGlry44o6qwzjrERPkrWCk5tcpdOn43ImsnWBDoiMbI0dbQkgE39UTcz4gWQLtDH
zNu4qNag0RBouOXG67BbBXJaawjTQlEyB0jFVjrHeRD1XQvR1/pZTsQaA0JFWFgVJwh2yUHaGd10
sz1HPsnRlNi0MOfxI8evuhrIM0VkUdCRZG3u50FDiwBBSAsdtrsZ3fo521koalh4WzZxFS48Xyoa
YzB9kpjUTZ2FwIaM+ZeqtLHFms5kdSggi7OU2AXEr0kJFSCcs5c2xUhltA91pDAS5ol61ABRtAYf
36IoWrpPh7os38ouf8JjVe6SqfztUuuujXvlJ9dWhQxkKhrIr92gr4Kk+d0lMaka0rX25UQsJHxC
cR1R5FNrze86D0nyTpV7484cCHUw3eWzO59DGMhGbqfXVZWBMoRcZE/cQ7iC5l1wmyQZS4weBbRA
2b7HqiS3yonHdTRb06E5qFx3N3Lu6KVZRH/0Asp2hxx3BNDXZwjZ1ZeTYJEPOzIp1ESjEloioZ2k
XsDUGvgz0aVEE+3mcHaRb5aAC3sCK10FdwUM0Cof0rvJCCNWIPrHmCDtKy3iuuiOQ/sFw8U1LgAL
zPdV4wJ4XxKg/aHa6DTUmzzwHkM7hygdO5BU0lPVFdOZKpnL19TD4BPNL5nr3xVtGYww3klU6k4V
+DqGeah2VWR6ewFYbRul4hfqKxyEQfRcBM4N8r5fmt7PuYY8iLLdaXd6JPi2xfodoW3hcu+kq6Bp
02tcXGvf1lwFy/Ydbk+0Gmzdr1k4YtkN8s90IkQgcuhK2QErAjcitMWo1H1rWO71MvR3aV/vspQA
AP6UQ6dV9TCSDYA0yTnKoR5vTCN5BpYskbTp9y6t66sG+dsqiLHUutrLN6IDjWOY5m0yTsdJL81K
l4QMa+V0drs17QStCtDHlZOirJkm51bWIB8KG4CrZwl96EVNuZ+E8M5gFaWpOz1M5a0xJOU6Nav+
Xhbm1mzsI7cJpJfmMSlc71g0X01s4JgNo99jnVb7tJwZZuCzkpZxBVFZnkXw6jATISybEl8Y9Xzd
t97TaDvlbVjdFA55jKqnDs/3psk4IY8zRC0loyYM4njchoYz9LYOVHeKFAnYDE6vaM22Oyfo8UiY
9W/RTw/xlD6AjLjuZv8V8BHS2P41M7S3r0c+UcEaFBolTCz5WXe5e1/ZZGBTJ5ywdg/A5yHNu6ST
SKAuLOk17lKwRX2JuRXlmDH3D24Z39E6GvdcClceFoNHuP7RzpuDH1FYJGu7LMf7dpSfMisOHWsk
rJbc4sesfB5lQsOLUxLq0TtM62C/TAs3ctTeVprhq/TLHxaWsttIg3JAf7zqnSl+jSNWHMCL7+cR
PxSruoEhGE6qSMqXiinBLp5e4jk7dzFN1LkSP3vLwcqcbNBeGdR2E3nwvedcU0H0AbVhXCCglUV9
n2LxZA1EeIMFR8MOsDIOI/YU+pjKS411FYzuKonaE6DlZEtOQAIvJbnW43TwvDjYBkCB1rKcSawW
UbCxcjRUmberuhpZrhpvRnvmnKxvvJOBS3GVRjXQBlyzK1uIq+o6Yyzx0BKpFApa4P6ymkwIGZrj
yoXyLALIUu2na/B7JmjYyiEl2dd0r/HIkhUezB85mrmsD5KDE5VnHPWv2MkDRCD0VyBOlQZhgLXT
Jge39++8cSoZLkEdsa3UZ5BHBh2Jc5BnYB4iKZvR6qJBniCrRF9RaeVbwczO6t2Jfl12E835B4ur
ZI/WH5Zf+K4rACx2Vdq0EoEAxFg3RfOpxgFStJR4UcjX4Bx0xY0HNiZ33Cvs6Q9ZxgIvm0j05NS7
DcL+LdYpvkSQY5MRvNT58F4mY3KVMe3ehCnTTrvMdg7v1pATrzgVFc2dzhzol5e3Gcvmbd1GqEJ9
c+MgGhqcbjpWHnmlAKNXfHj6h/DesmS+kbmrdozf+pPlYX/kVmJnRb0T4WTj8/X8Q5wzlnZAyKCB
H4/dXBUbVZWPvSGfq348hO5E5h7t481QcRHIac+kxAHAV0YPibbH3WXRkmGvi2zzs6RV/ZIMLt/d
9tsGofJW9nl8k5vVeO46F4YmiO1k9LnTj/WWwImrfKEG4nRqQVLX1saW4wP6Vv+Y/cDdPG9TABn+
iGgac4LedSYZxp5l2PcTolN/Cp8y5bZEzjX2pjaRWRmEetm2yeTGlB+UDfOmC2S5toVzn9VRu0HT
6KykRQVSgWxcpSJ/yAzQjpEHVAJWwgL6Q5KOxPx3jO0dUIrx0KlO8L6I+E5katwC6aDZmCJMVOjd
Xf92loQwFrN48HLuBqGcb1wWhFy0+/XgCnFyhf1RjBTqWqO8jWw7fsm626b/iqjN72e7CG9aAzTt
osifET1MGcLZ3u453O6R+z06A9zMLqItN8ZOe9ub1q98moijyYzbtkddScVP/CG350F1yXVdZQeQ
lhvTHYl3W3IkYwThY2Gh5872jS2uyC2gvR1+Zsn7KCAJm5xNlVs7pI4BtC1daObUgL01unsyfCB9
BxD9gjQXiJO9beKCTelKwptcF4xBYFq7/iWdq6+i6SmRO0V4qPMz9Mrit+PnJy/f9lND5HciCBV0
+r2YrXrfGFxeqkad59zagPBLdrMnWBRFlN7jtOKdCjgBolWOgmZtzKa/GUpMmo00SIcYH8qIy0+n
o1Xs6ZYsPXQScCp/iQlyXjcQnIn87DozWtrwU5jt5DRcebDadikUpb7PQN2wcGC8oZvNFBtHVfXD
2crmfd972VWvXxvY9keT2giKJbkePgHOWY7bP8/p6wFyJLrTDbrzOBAIVI8QjMRkvNEyxr+Uz/ck
TU2bYZx/UW0YQHDeFUFn6w52Z9Th5sf7hz9WwQC1tbvHv8HNb7Ly+/9g78x261ayLfsv9c4EGUEy
GAXUy+5bdZbk5oWQLR/2fc+vr8HtvFk+ysQ5974XYGxYlixR3CQj1lpzjimX/Y3boudo6mhbDrG6
c2mXY2+hwO5lek+2BXiVvt1X9lYk7oHZ2o+4bost+twYx7VBS4zyw/Ih/GhPnFRjH2ExMG1wY2JM
8/QpauYH/OD9PXxQQgsUb2dczd8ZV16R98Y/Z2UeqfFYzILtBJ1qwwaneZqmkPCkZlM6jvoeN4gA
Oi8hJqcI7hy7Y+0Dw0XJaG3jRO5MWkVXVo0Vs7b2nuAS3j6LWzqprnXEzxQ8KxoSlmkSOFheuuJB
hLROVERCXlp5C5iyPDB1Z2gs6GoTCENoO3euYeVfdZzfO0UGnVfARGzjSzpaySeFMTAa08vtxTDi
7OIon8qiF5uw5FogPwmZt4UUmYBCkr3oENzyKeuCYj7KRMTkyIM8SwSISAmZUaX7LQKehfJ4lg/a
rHhqMldENcAkgkCVczs6X4KWtLg0hIobkmnoxNnnLOW9hhPEmBSrX0D6iBiXSafFvAp+mXhJcGRM
9zUjwpP22HBN2kt4MjfksOsiP3cuuPuoepbdpJD5E9dLpw7zysloaHp5jthXjksURQ/XPhqIQk8B
pUqVjA+JANkwthCRivHe9dJinzQY+7RcsmymI5u4n2M+M7ekjzl0Xb+VmumBCzMZmLBTbEuLJMZw
YoNC0ODKtoYzupR5r/NsD8g1vgsM7wmcBF3rmWg71kAad61N8wuN9qEcic4ig6gRBQitknyYzhVH
3fjV3e3FVIQnAjbpHRkd7SUTtpChuS8hM1CJ1ja6sLj+HLKjcqee6FloH+sKr0GXe/5dZzYSCFQn
LuFij5C0XCXk3nUOXWDlqRnPqdQXmVEK5Hn9AARp2SyfCpe909gyAZmCg5fnYmehJ5iC+Qy+8TWo
HOciwghxf4PtCUn7GzZj4BppCU7FCyZAxRhWxBB/LhhsTmlibqteXMaRB1NRVkfjNbbRbpRG1u/o
Ow+HqGFxF9LnJsNOuU+tkclbidp7ZOcdEM7IGLqfn2TaEm86y0vQJQoA7vzDW+lO2K+lZFtbGmsz
L/HCu112iVsPEDjvj0z0PnKz7GRH6iGgRqiFV221zKq1UaXGwRnLP2QSvavK9HYVmMNtqWqbAIWJ
rPKMHGrSn8r9zNVUCOd7mmmENkD7VjnyM9NQhBkiRckDdfQSF0BTRHep1Vfch8GnmMFjDNiEbTFP
xvQFGvpwh/hLQHESTnDPJISKLvfIaGQ/gO91GcMCqg3yNQsJzUKyMwtF7nCTEb8leNMbqgU4rQzU
opr/0gXeTozurp2Dh44BGe27qTH2TYU8MMfAwCp2Vw/4M8KuOQezAC3HktCZmOjqkB5K2aJap92d
YsHeG5NKARyNHCnkWUFqNGNAhtVsDwwmu7u6eCKKa97pKLIPJjSzjTHlX13vWVqMhsw+uRTwVlZ+
TneDvrrGMSTz7FuWCqptekC6nZ4o+f1jGzONsTQCh9oX6xLk45PyCDOMiXVze7AO8cA5E85pKDSt
eMYR1MjQFBJzup9DzNJx+lg0OZXSGJ5C5Hx7bUs63AOx5eNE0eui9/MQ/5OCsE5jc9pYafvVTTzj
YBJK6XeRcV85YHR9h+funNE2MwlpJR0qfO5dYEteOT/aY0OOt/RRYRYQTTqHxORs1uesi/zD0vIe
yxinR2u/64naPtX5oR8Ka5/bNf70dDrFufWaWDHOyMWhqpeX29/sxQzYusSIQSDrwUr5DEytsSFd
CQnL7eWmxkCa0APYNkeG0CEao/pGqBSolE5UHAx8ooINa0g9hTosb6sFZwENZ/nU7fO3l2asgl1r
eC8cOiPfmx1Yw5vd+VbzcHPD3v4poB2Nc204xIu0DX/6S7jgQe10ZkjFM2OBBrakfrjbudAbHsoL
GZQXNIUIQGLHpA6TVHxT159uaJjbyyscnunkLeqz3IifVd3BzOpdmL3LP2mN4fX/a6n/W1pq7IdQ
Gv4l3N28tW9/yhCByxY10VuOuhdVdUQl8/5//pf163/9l5ja+wfYBqG5VX5Ff6Dz/ScRQtv/MJEz
8wfdtPVLaf1fcmr5DxS/ggxbj6gRjTvkX3JqwTfUSNaIHxEatbX+HxIhPuiMEZxJW0jbchT6bEWN
/medcTTVQ1dwrR9zB7NaFDZ679XTczXT8MHRTd/INbZ5yNN+quHHjeQWC9CgGL03Zki7JEzEblKs
OtoFgIkiZZ9X17HtnMfaz164Udm0DdamQIzF/LZdCG+eR/pIJdlChcfMYpZjs3Ok7X1yRf01tats
R9xEv4bATbh0zbC1/uzdNwRE7VXdAO/KWra6X1I3mnd5LHuEh9Yx7hE4jQ76B8NXl1kPHS47avYy
4wlQwcP0OpNw9EIj/OYgquytSu3u4Nr1c101LdtEfldiiUGW2TSubEtgo3OAAtEitXKj+9kCXDl2
aK5SFuitwlrJwghENwPZCRP1rcz4BnU54ZCdsh3CigJOfTWeLY9wuuJUam+4r6cGP3FhghyX+JF7
HgzuiB7ma2jV5UYrI1jbsUuIIwOiXbLgaSBUuevBksEmoDbStlvvMoteSE4HecX2Zz50KLm9QOFH
9exvU+LIw29X9H+Qolv/foHYNhJ00CWwjAQNrD9fIPHk1X3RlyXhbvrZbC2CS5eX1GsY0LlgwYKp
Q2CRdvdmx0HZEM/nSP3zZP71sWAi+D33hmsVqApBsbYNRUVZ5gdNvDAsmv5AGI+DUVMtl/lXQEM2
2XhG9xCI7MXQ+c/ITv/uDHxgpiw/ViHyU2BYHHwR8sMZmMGRzU3opkfoivRMcJFzYS+1TLggF1pR
70laizYxmk/SxTDMG82Q70k9gcaFgJ/+7Otfn4cFSvPxRChbKxOKC88P08Sj8TvFJTZFM2R5kx7t
kBOBftheNxo60TS0e9LE5MrokMq7tLC3REieCYme0aAik4tnFMkSljuq25/9WOq1687WXhfp/vat
XB+ZtBQCyUP86a8PWi4H9Vtq0e00OlhAPNvybJfkzz8fdMAdgAc35qB1Pe+iZjq0sYdkvjeQeMWu
xdzXiTZyqL66Fv2kKuA+jHwGbqQgFbT63it3ytH2tGwbjOLRpVBGaPyS+nILuprtOwgDmrvrtIq/
t0WJNEI0yQkCTMPSOn2Hin1HC4UTIaL30QBp4jskdDiheGLn2m5RLz3/zW+8XBgffmOyU/hNmUxo
mzCpP//GI1F9iDhM0opa8pUM9n91FVG7DC+hN4uL1N5W5whmTGHHJ3RMJrlglg/pxY1oQ1G9l5IC
tu8z+nu0m8zaoaCRkDzJrhGjfu6ZzVFe35HvgVan5CGgS2Steeq/6dKiIdVVyQkOh7nLne6tKsb5
UBuMBwrAGJVPcntgI6by/+5+YXH68Gs7pukpZZtK86o+3C+p1Sg0thI5fa2fC92RYEwYau2n34my
6fbVHzlA0VxYxnZkX02ugoPoc6uagE1wg6QYAUTLgHCd0Ri8+5u35D8dm2U5AgeR58HY+GAfqiud
yrZG6l9NB7NO1GlOiy8FU5JN1bjPZP4QwWE4RDnyNCfOyKEaRdMRUPHItCP5od8aVAWrshPfGlyv
9jwlW4jNj1yWAGP7imzEFpOrNdd/OLbprXLxPOvp5ORnz3MeqsCqD4YYzG2BqGxD5/uhQUqyMYII
4WGZnZC0fIts373+9a9t/fsjzEE1YVnacl2taEn/+UqkxztEgVvGx9mFeENH5cFuZg0atSWmaoaU
W8mNnbf7oaXC8PlgnhAyWVX4FGd2diD1L179zSF9WFdsYJomSa+WyVbGwRT84ZBAuMAlCXV0DH0i
gGHg35uha+/rLD/meLeOYeslh6A3z0J7zqZV9V2k6C40mfV3R7Lchr/dprcjcSxmCbanTNClH67X
mLGrURvcpi15qo793oR4yRZfyy6Kh2FN+gQN8jA4zTQfKSA35AeXB0BFpJoNELRlq17I06VTgRZn
5whnW8A5/euzJZfr8t+OEQSYdln5eJosZ/M3bhephMj0i5FHSePc6dbS4HISekbFqyG85huivTkw
s7MivelQht9VPxObNgjzzomyOzaU7yABo5VXAt/V8afRQqwCuKePvexBkJO58SMm2IW28603Z0Ay
hPHSLanwxSQaQrrY7XnA8Q1V/u3Z/7AsLGff0h5ruuWSqGd+vCP7yUqiCmvW0bQhK1TQGKBcT+fI
84JN25AAI1ukeoJZQgs3HMUZmS6+nGjgNgWNRQUGMz+oJDb+5p5xPuw2lgMTrLKuKz3qdNP7cIH2
FM3F7JM1N8Qk3rf0JZu4iFnrp2diaIEF4rhdR8n85PnSWk5gyGAqggWNoBAiFJvQgIWNmS7pk+hx
HSKKilKqoy0m6zCnzW6mj++qIb03GaXsVI/DDraPtfJQ94PP757l0qbp5th4K7KSsr9vGGC372Ni
k/s0W90aNDn8NoEOyskeO5DDu6mgYYWQjDacALqti6G+hF77TmrxfE667i4XCQ33nvexTQ6VU7Zv
5F9cR3HiVKN8D9ODTpn960DvjWRGeFmgSbiRq3wO5PGvL2v1Hx4CKK8ojxQVkjY/4ujYrvoDqGvj
YLP9OAxEjqQVKXzzzC+edo77IMlZ9TW4Zs/vc2TXXrrDXljuXAuRrhWIPeNuSZTOCCkGFJYTZgzr
iSab+qI81kX+s5B2tUMT89lPdXPgfib5XIOGFmwzsXEO0dFrbZpHia9pU5X3hEDYX0v/GdMfsn1x
gSaa7upZf4mD0GVMJABN57Dzpl4Wp7mx2XaQMpEC7GXvtDwfxvNAN4wJ1R9Do9qNMzgLywS3k2ui
nxrQXgju5bewoetCLASeB+oFSR5Q0Ojg0CYU/JFBYyfwa8aIVXuwPFDMJaypzYD+1QkYMuUky3HE
7aqqAe8bRXyy55HZu6N/lf4/xv8d/Cwefj1gfjeiWh/WS24CD9iFBEFItC2Muw/rpalzUHspZwmq
JQlueXOfkHFIc7WjT0y+Vey0+OHpgVQes1womM9uSo9decVj6Fh0zpVg3lGka5nYzYrpRbv960vo
9nT+85PRM1nH2W8Ij9ePRUFkkC3rGw093GUvXA39p8wPCM8xWdsRHK0GbjM0L3hvfNznJCSlYG2L
b1PENlmBNFoVaNDtWTH+nynA/ubo6Bd8eG57plKeoHRwcEEvNuvfn9uT1ziNPSJU9Wph7yNG6uug
Q0waq2TnizJYo+qbzobdTuc8iyQjs0M2xwKkzLLohUyt//qA5K+K/sMJkyhlAMdTSnFoH3alaV1i
9CKW4jDKVGwc2SRPxBPTH/SO5NMaX/jUDlF4fiGtM9xn5U+divJNFl9pIJo0yWX9o6OvaBhhdhiI
HzjbxU+2M93ZV0OOLt5Nd2EkH2Djj9shrLwdxjbua5KXkJsh/OvpdHcwCfqw3faEADzUKqKk4q4+
8lZe47F5L8oivgJ7KA9NS0yaYKbdBBhpFWdyFwaBt551L/eQT7/XcRheRgd1SFLUZOLF7IId7cKY
Ug8dO4xTqDnOnnlaY3s/TLhfAM7sujzZctSHKg/OXcq3Qgnc7Bw0mavYDJ60O3tHxt4Dgo9Fo+Zn
0amM/YHc93nch33zB293Q6R2j2Vx8t5lDag6TWt+qYyB2iJzy7EkHUxpQl73nHMRRNZGhXb8LLyv
nOzwKvPhyTdtf6cGFJdBm0BaoIBmkfMsRP9Yfv00GIgESXekMthHndebiNg0sfFEWZ9ZUL/Bg50f
5YgUSdGScGaAO9kQOkQf0blAcxLtrSL9qixjPEfQ2FfDkiBA2ZSDXra/ZvS82euB6dBqU6Kku2JJ
Gc8ZKtdVxepLjJDLikUW0EqHfrgvat/9MgvmgmJfh/10bDPxB85v8dSl8Zuap4E+0GTsPRzMzDqW
NcT19ozI7c0XHoJ3mWXoK8LiYzO0/l26TOnhF0HfHAfeSa+HkRILdBPQwevQh4Wt9IAtn7Rsm6bo
QykyjAk2CVYCdRnVjdi3grt6zjsInzYoQkmaKjEU6jWwGMtOZX7XDCNSH1cizzUZxyIq+Oq1gIbi
IC9OC5Z+4w7ej9BGGIcbMrmw6V8MpimSU3rpz5TNpBgxEuF/gt+xDBgtPiySdZgX7dGth/cB4M0+
MFwLcUiJFxn/76ZBAUnz4mo7DdxPhfRwxLevp+HFnjF6sKkKNu7cbfrKalcNVfO2xzCJtME925o4
yWhoMCw2ai/s+mrGaYgoBVqJiJMdEGhjY1ltgtiGoZwNNPDgRvajkP0SJTmyT+2YBc0F3qt4RKOW
+llAGEb1MHfLj3DVRaWF+WhW1jnsKRtbBma3TXed+7jLOlKELJJ0PRezY5Jbe0occSyITgE6Ym0D
AzFSWTvsEVVHOLiSIzj9BKO7nX72rZzpYINWOul19JCmTFHnhuVLeq8F46/H2iIysEuIDPALs79q
a7JeiT9jiCJehBGMr2IZetkNmibBhgkRcwjirA/ErnCbfeIH/gXpB/WYh+ZTQrZLxk99PrlX9kBl
nPmIZp0Zw4B9T2BdcDWzH72J6We2fWczJppB8nLQUaPvSXzwFoYzyfOIbtYuVfIukTNhmWFQbXSI
+ajEKiPD4E5MP1yEABMKkGvSz8bKjotsXduM84w4dy4mvn2KQSvYR3P/bOOVC3GrXPoRwxKgE0JB
TPRyDfMSPKqX3hqvvju0WwFy8NEYu421/OLY1Ia91Xv11o678dUr2wS53/ySWOLC/pEcwiyv7z3B
wSWMij6HhLYjPdDo1bR1nb2KIY7ZA0uMnH02zPJ1icsA6h72515S5bIaRiHpTtxWu7Jx8osriZZU
UWJ/zkXgbqSM8/NElvu6MBrza0Xa8irGW9QgiNxTunOePPoTFhOrKGGQZ1liGa14P4pB9szobOzr
cYtK0FVPNRyKT66BX6SeYnG2nPgbDA4mmtyubCXvJhVt2WhQ+lfzF7vm0VMB3cJoR2vC/5n1dA2o
Gt9FUTW7ypHdUTZGf48hllOY6cc+IRHEU0hLKbOpcHLwe3q0Nvlk4ynND44Kn7NhrO9NQGgbGzca
9TieqWS4Kv+etzI9WgPGWo21m4iN8oirA3Gu0cs72iRfLDYymdM2pyGMwmuWp2dgAPs5rR6dkHuw
qCXDb+2MPOubfl3HTXNKB5SUEYjAenjLC/u1Rcd9TWJghmTpVTvkK6coidFIO9Pd7buODe5EM/L8
bTIO9RbnR7izrW/2WPOsGhzQdKmJW5SosT43y+vcIH++IUmwd8GThJIl9AlnAZc4/pSVRwwwnofz
HMf1Iz6mYuU1ID8s38If3n+qMzfepYEk6VXXYOmsGDVb4SJHrK37kHa46rxuzZQiPQ0z3N5I1iRY
68I8BJgH8JsMW2NI2X67+FxSNz2DMsKTTdPVLyAidnk1XYeifgEJwh5a9l/S7q3NaN5QsZAK6SV3
Y4iyKq55gyOYKkPmuBgS03rH8wIzTxrjH8nj+6J2LrnrxpchzGq2awNDVckoH0sMqxqLYJUV8lPI
SNm2zobGG2pW9TE2iu2QZ96l6aGdSHWwq0XKN6dHuP5fZq2sS6jMgniPk6kWkl/GFhB3IMFaumgp
I7v2oHMwmt6zDqke9NSeMqMhWyhiuTVN18FM4xEN3o5q25cQ6WTW1WfTXTSPZIP5obDgYpbygG0J
eFqiLJTV3gseUISfYX7VdggcmiZXF5cdVkGMHok/neeBNGaDvA6T4BGqcMeljunWhRuM9+Qpa1xY
uPp7NPxEICWz8ZTadUjQMDMUMpSqTUooUqn65FQ3DrLYccbKF89HG5TNXjHDWTFNCXdeVqB2MYfy
iJLh1YuGb4PxecxccpcinDTdtK483/mULAMPnuNH7gJvFWl2hk7tv5TDumYWnSt1aJB+rEVgWxeR
bT0v+hR1tBm55RoW3Qh/MpJtxjoz3Mly7ybtGxzG08hKPE7ZvUH/e0XlR9sJjytc+93k4ZUZQTtM
jfsaDDOI0IaAFcQej6oiFj5DwO+2hoFFBDDHNAa7ri3vpCIGt2bvtKstex3bzie21Mjy3OHS4dgM
sE7vpn6Gmtql36etn3ffS7Lk1yhcMLrJr4HCRzT66cGzk+ea1siKEK0v3YBHp2cZOA4oLFY9cZts
iRc+ykRCl+GzbRNQxk3y1YFM7pMItIQ5xxWPt1yvxoRsbqYCJPMIM0KJujVHTCu9SZjg5wHNP+tp
gm8tZWkGivU8zF8E5tFtEpBcZMuix1BM8tGosnY7VNN7OUhoBinAR7t8jYea0PmxQXhuxDvDYzuB
p2AHF4dMOvNrBC6jSnCRpXWDBtTh+Y5WA0RtsQ7FCKtxNMiUNL7Y7YIUmd6o7dF8VMSHNpTb6Xj0
oJ+vwgTpETZkonVl8xJSwLGtIDqUbXvfG8UmCMvvloudzwXuSPRdTwMmvPY5LbvY3ccSW1RThdm2
jjUJUi7gFQZ3M9lA8Wjck3eoEf+uETKulMoAq6EGWTH0hkGb4f/3sUf1LQqxNiVca7awIdP5X7F6
3UviKgEuTGR6jhROXYg6cGkG6VK8kS18rSYjXbfINGsj/SGQ1OvgMrkLBX3CMW+ZOTuFLrlDf9yy
XNfmOvS/AyZ+clX2qXTrAwL9l5Z+A4hNmhyVpki3EXUkcCxyYN464MGnacus/JTbBfH4DxCgm4yo
onlGnd2iKaKXaG2I4qM0MfTRXUDE35oiyx8zTx9CHgUbN8FoGy/dQLMX/b4uw09lTUTE5Dv1lREg
t0Q1Gptprr+xOWLJ7p0EFLh+cSOTpdPK94BfMEItL/3Cq/ew/a0j4EAIdPnw9onbl9w+/PVyY/Ap
mqer/vbXwe+3sADebl/n3qB2ty/UjA//+TW3j6fKjJan0Pn20a8vxPFFytVoXn59+NuPWr71kHgB
xO/QJ40J/C5G6HhfVhlvxZ+/s2hLMW9//7ZTs7B+EZfc/vF2nLe//fqfv37Yb98l0OITDh3kwjde
/+0wTMz8bORjPEzLsdz++4fj++1bfviaDyfu46n59X2Wbxt0+YtuaEZNwRXjC/PZ1syOTtP090yF
D32MOmBQ45sm25K9arcfseEiUg/nk1ErVLc9nX20s0jgeKLdos3w8/bDg/TY4MfZ8CULCd9Korc+
ycmrpA3alA6UxXZX2wn5oG34OrSjy6XeeVuzJfo7Ispoa4395yDM9VVBNqjMwcfKEuYsbeTZRhnC
wDwpm5Ul+wdzTkAv+0Z2rP3w1HhlfimYvbuqvLhelj1IfRxdL0HlSwlGARJuoc5bK1eYfzShDp5i
83s9IIkTCdjxvCaHx9f2uPOOc87+3BjnN4h/j8kYbtGTrS0TLK2LsLmi27eRHk9TsumuSPeHY2pB
C6kHEwCZfKynZQ4B0X7tjZcWHEMZpeah6Ge1riaCyFCxdnuoUvvQdhFypvimp3ENPxTDro2UzTMe
UCJXtEjyTS4JfB1KxYBcHgLHMJ6CbU3Ftg4K219XBnbZCh/6tvENppsdynYbj435KaLVvaln9cPr
O5LjpEZtDrPYHY4ul85KifeUPZuQnI0WZxo01Ao+ThosGUJXhBNyrYQR7ce8q680Jtj39Hg7M+Mu
Gyt9b3jHKhuu9DXeTKvfF2a3CRLkU1lDHRQORCOo9iWWvncJdbaLas6e1NPX0tIPaAfbfR1bdHIz
Y9cPbUe6Qr2w5GMIv23yWGIvWKlAK3Cv04Od8kC1YfgC69n1bn035E4KKWpgjiU/ix4vl9uzEalU
UnC0tNMBcF9qKup7D9tiUN0p0wepMEkHlxiGtLHwqr2f2eMpIMhtnCcY30pDCaD7GpWjv5aT+UJK
HRnQsxEdZhBwcPOZ5LjELCXptLLoPQDeJ06zLjFDTfVxyUOQIZPMCSOzIt56lXWsgZPRARszwRPc
9ouu4fZI5S0w2oisYcYH0aG0onegMvkuI5nXn+JwP04LeqR1vbsQDRUBnNTmcYqNQkU+RvHygV+t
uWZME3LmyndGjNE0Uj+bFIGL4eMDFFFHEJTjdIcujLdI5/MSXaVvoKEmEe1oRSPeDS4srwriT2p8
t83GPPKfQrCaoHKyxXtTuN96nE8EkHyP50+oBtMD3mAa+LK5Tt667KN6OyPGRS08vzk2O8k8Gu7T
3H9OAvudKZJdK8AVasFVGSei2jnILPUPvfIMQB9QNMsAYbn2HYmGX5dbFrsvYwcXzluc6+i1odK1
1b2M8UPROQL9kCQX3yq2Yc1EwHQUCzHU3dVU1WdhF4ig5++eSesst7YyQ8RQ47fYkVf9GaQKwkB8
k6yb9nPTJI/LeGDqhpFV2412Mmqekya4OM53XOU+XVPjoZ7RtYQZEA61ED/SCYehaY7wiYL+HprW
tE5hefHWltahqpxvwMF4aNggGiwHSplC5r8WAwpkWbZfoKqcW2UhkZTzuxkv4sHpE266ffRH5wcW
/GT31He6ASBs/cEFOKyHMWUPEduvlkJ0xz4fBbuNoN9Q005LgbscyrgvBRcgUpQwJXpc0uCnTMaU
OFm050SabdPv7DHGNojOOKBOs5tix20R4i3D50AQk53Dm+WBASMdUngSvWpTrkpB/ANmzHgfxdYV
H8S+n2Ek2Zouqt0fnSl6NoBkrZkpBhtVIX73DDvb19BnAOkXJMAhU5o3eSyKtZFJte2y/jmmbSGr
+I/M8B49zCSA9e0RxoW9jZ6arKp2adVwj0zpY5Zk18kR5pZhgVTWeyul2DZte8mC6rOe8PDFi0et
G7LnkihW4ngxRMBfQ6Dlty4ZKeWCA0l3qpjZz0gsJTbNBKvduhY/Jpma4gHFWnA1zLvIxCdeNkwn
5PDmI5vArAvXeuomRtdz8Bon9k9RTf6uWVpP8+wizmRLAdBIPck23CmyN0fcNE6l5KXhDghr43sD
v3A1qC9GnVOwYNu99i2sdsd5VRZheBUkIbNaY9sn9BCtbNAYD2YVEUFroaZPFjc44V4k6TE7C/26
2xu59xouNMHKzL66bPSqFiqhIJcZDQvtsmF0n2GFHCwfekDDHZrM8ItcANtFVNiQYwbq2Yw5aRGP
BzMGD58iGI46/y208e0kksTVLi2uUed8I7s43ukWmPyk9jRFv/RWG50JEfjpwhbEGRcSOkyRGPl6
3ZQxGWFLgKEXcWUS2AmpS+TVCkFeecgE8ejUG140wYrrmnzXqxNmYvTiaIk3bPMr0khXSZRMl2Gh
XlhDATWqap+ES0+jstPnptsZriFXkqcnpSpK97Svj2ksrHMdLiVe04hTW7TPpaau9wBzrbvSQWPv
9uY+stnxs1SdzAawVRxN1IM16TlxrjaG2acHpw3+8NGxI1RRe7YiPJYHJttzAwEjaBfrJt3E1dKh
Gmw/g1PCwmmG03mMs0MR9MeS0EobKzUPTheXySZPEOJB43hBpZ2sc0FQNp6QB2FPIBd6msISF3dh
0s3j8T1gDodYmRBdKVH3htjIxuJQu7rdOhlK7QShdb/cpADp0y0/EScKxC8dRPTbspXtBYckDjNO
bIxhycLs4E24KYAHkWPq0AGhWVEzhoEFQwhtFfwkSYAkp1p521iU2C685ClG57/vrHLa4HSaC5m/
0xdPK2B1yCzIf2FA+xma2efOxhOJxprNkVWdjcUInoPdn8m6rhDpO5hQ7nE/YaAx1Jmb6N0psCkS
JCJPE9EW2AHFnTFkIe5isM7EbX8JrGjnnQIsXAeqHRp1Tfkta8ZxK4pyySiN7yrlHmtiUIjK0MOu
UYD13EruvPjQln182lC4YYLOTOgDuKqnMNOHyZyeRn+Pes7YNqRfu3HdU87g24y+YW3D0LSNyonT
Y3XlCp/iU9bqflPLrgRtb79WesBv27xWIeNsghA+45oWO2O+72wf8Ilor2bIlsTO2isSvrMZyAdM
TpyBQQEcC+9dbn8igN272OmJOnQqH+gh/c6m+ex37siTTeETtvG1jSyNFfUY1whuhXact06DaE1Z
eX+ygksxts/MCeK1Z+gMk3b8NFsPbU0Irm2heKoA4q7syd/gzCxWHSbX2agv6APtbT/2bLk0XmnH
re58swyvRAw9dVZP77OgH8nk3TLucRl8yhq3Pd2sOLRuaUrnkRts45Juyq9/7HrG6zXiIKEKBkug
O1eZYZQssaV8CQQzqi4wjFXTxIKJDLaxdi7yTWcXwF9Bw8QHN1TbYgmZur2ogHgNO2TrFLeYSZYX
15+LTaig1TmdSULi8oKR5aRmUx4AVEF87eCbFdg2YXKJ00DEEREkJGG1QxOdB/eFxBjmBEY6f0Wd
S6pOpw7Wkp5TjjUKNFlc/IUafHsxFpzw7W8sV4RY0BBa3/4NVpAzVvEpEXF9anG+n6Llb3hcGKJa
Q9DuCzBVdjNVp4C21ImUTn7D//ex7DKFjw3GLF5O2Z2dLsZ6XraSzg+gcYIPABvdiOFywACzar3g
s0hSHzn8dopLLA3Lz8xl2PC5f/34iO5bA14DjiIZp7Ss42yl8xmW1mx8spcYouYrg2YU9Mvnb180
EvmxHQW0t1n6PKDbxgD+kyxQnNxZuyX1R6DMcptaRM+AiyaQ0qYbUfcT6MXQwdwT5eu8IsUBJli3
zs2eCIecbQVXAMYAc3lJmgx35x1s6uKU2WAOVjPImaj0o6MmZWFPO+jw65NL/c4byaBw/D57Erpi
DBf4RFhOcIPJ1juG3Y/jUn/eXmKWis1I22ollninKYIwn8HEQu17F7sZGtSSSE12ccCJAmCw4/KC
yRDJDOPy9lDHeJ7bSZwgDpCSY3jiK4jU9uhFyQEtN8yBJHir3MrYypzrt22zXTdhCru90M/eWJ1i
qzwQ2DQBs6OjAdPr9snb39Llw9ormaS0GgtUx9AzNMB/yqW3pvrxtUlLRjkVVKqlg/N/KTuz5ciV
7Mr+S79DjcExmUl6iDkYQTI4J/kCSzJJzKPDHcPX90JUSa26Uqu7zaquWWYGySACcD9+zt5r2wnB
H+ql9pyJVhqko3x6ZwXEirpCAIWIRhf4nn0buQCgRrgWP3HNX896eCiCUx6Zr4B1mGZGmi6v+Tpz
rl0hWb3Yo/Nm2darq0nL6aF3QIF7jFK9m+YRBJKtjtTE33VM3fwRu+oXlDEXVR/fmgiee98YHlBg
vko4bch1XkaPCoSAHazC/Gyr7TdG++kL8Rvx5cPYeRw2G3Nco1k6lkF1Mmjyr4OBlrltYwqGaqA5
UfL8CmgpuqRkZFWqoX9MZ8zPHOqWv/rf/5H0oxg6qORYTf3q+veF37Z7I+PMvvzbX16aFsvNd/2W
1382Ve9vu1G8/eV1OlwSyq5/eX3dLN0AWpi4rfOSqVBVQhKbnGLNqOEH786tKFC7tGH6C65Puuno
NpXNAgalAlj5Zdjf6M7cBMapzKLg1BGntPUKGC1wMNbMBR8MGdxHsE8QWcB4aYkHG2I+kBIgXaqj
R+EskzDX2MU5YQAOBlDX4Z9kwGhDpwDXxr7xn3jkLPNHYSe8b2AmVeOwdevu1mLxOHu4lgciZ4Kc
MOZQZ49AK4hAnShuqjrPbuAan0ZJ1rkLHHrdLb27uCCrzmj6zxaZ575G8okJi7TY2sZ/1T5z7Pep
6dq968LXcntzZ6NR3pQEHm89ZT1ZWTti148puiP24oAaY2K73jvendPB0ExaeRnhqrbSBBge2cfO
TaBrBYAVs2A8JBxZKBVRXCeIzPd0Ijnr99aPDx/9JoftJHMmSZmT/SIdghaNmLc+e/40vJlWoG/g
6/y20qLfEeX5JYvg1vfkA6aki9fHf4RbmSfQ2Zs4BuGU6Jcht/dmLl2Mb/gxTYrfSe57N9BHjrMv
ZUfK8VwzqLPK6U8tg9fWduJduwwCZO3f8XS8pGGC3sCK+1XpBLugT7DVDr9Y7fkV66NwbM4SSfIM
EPriu4icmPfPBUSnMuc564dmp2sS6hN/VnskX9/GH85ZA3GJ3rPlxYAKU3D1eCeecZz0N66Y5jWM
6wSUpv/T1AMYjhnjnkS21jk3zDHL0EAX3IGyyOcnwWGldG0irMo3xxNffgXpdIF0r5mrTdtFC90z
jR193o8TpYuWCsqtYoiksO7u06680OqlyuVw7iTbwbAPSqpzNc71zjXAQhlCr4WZXgio+PCd5DLE
+pIhBiDVT0GxJDgO/C3O7bCldZ1vXMPc4hbnpLltc+80NTjuHYZXOUoSmwwtGkjjc2wxBCaV+o/h
zKQFtcapanF5Bep2LMd3gXt1lTjDBdb9Q+fRq+jdR3PQb0mhf1VJgvl5PGT07N2swZ83lR+Bj/4M
MszKMXgsxFCf66r6zadPBpSIHwCIfVFrzcDLk6M95WcWepO50h9P1mflDd+jJb4VI3kW6N9jgaBN
ugABU3WZq7LDKymXkFT77JfTZymDH2yfFMQuppnO5Om0Lo78gwbmU1veh/0MeyqjvcNCObf112R6
XP3kewxymmeA/daQJO6S0nnP56UVYDOzkPp1Cu2RM1GGWCCIeUR7OhTg0BC4v3NfptvMJEaVgvtu
is3XPvCSTYZOmD68uWuX74NeBLCwhbF1GvOTE3RPVoDrQTJNpHVSrt0IaB9anUUG6FPrQeMzK5vZ
LX6Bwp7Pju8wpOeN5xLQCTCC56ztm301V4z621Oi+ve+MCtG/29pkOd4sImKtsjUJIYGShk4r7xr
Vr3h3iej0+6tyqYN2tKjQENuVUO4GazxztG4QxEYZJPK97prz97IYIPD9X0S2+zqoKKxDYn2paPJ
68XuuZ/oXfnLmmW7MO+j5GgmAmRfENNaE1+DiQzHztrNFFjJxo4Vta+pngOZPQ5yWAHatMZmobiS
2FcZtH5x8rBacQMCCqP9V7YHoyM2EiIWOuFjNsgH5Ri/ozB45AqTvTCyt+vLFLP0lM3WmGDTgiM3
VH8P1vymjt0DYWgcGOxtXQ6vNJgc3/xB/FypkAmBnz/W9fSk+/mtGeCGhVZxA8TlDOJRrQw+Hu2i
f7RoYFnpF8KQvHAenByLit+Hn5ZrynWqAckmg7OTqYmixtXrpkrlvnJqVK4SKcnvGC3dKtTRxzyY
eksIYlnwVCbGxQWKQ3wrghrmlcr5pDVxml0sSiJqvsApvgn6OlkjPU4Z341ChtZ5EbMr3wWwL1+T
1HthakETTdFBBrv4TZote6YVPMBD2Kv2PTIjvMK+eWeWxm1m4Y4my24kOzNgUoggDmyeO1M0VK9G
x25bh83XEtmlqf0WHHG700Fk7SSN/fUUcjwV8hfDJLEesqA5YFXA5qU1ujbbpHoYp6Nt6z9Rz/kl
V/Ol8yCzRUlpbpDN0Cyvfkzaomyu+gG2Dg8laoIpa7HDJs+z/DJSbEcq77hb+v5kkYa4YnJP/6h8
KjsL41iLqK1OCCbA/b3OoLtMsZ/epmH3FlfgoEEggC+mm7pilvxpMRQ44H4C3VsCdk5YS4TBIAJh
QrkxcLptZoPrmUFOQw1KC3S2nXM902c1fcDcOjHvwkVGbzbRTRy4d8Hoiad2ghySo9SrkVdYqPGI
pMiYU3hbfkt0P0t7CYrXV0RRc2pnySUe8IqoaNjPKm4PDgcxovVSOH4OeYNRg3y99jhfEk5jMX6W
P7k1HIoQ2ROJKayvtt1sfLSMq7lDWkUsS3+TQvzbjUHTAvgPn6OgaJ76LKeFIqTeU26m21ABAXP7
PD1V7vTQMs87h6L3z17a2ju8JQS9k5d3tsqw2cSWfRvaxWes/fkc4aM4jszEhtBvz2r5T1Cn/Xa0
+Hjx7nk39uI7mcbiVI+0yM1mrqABckDM86WztMQAdIUKd4sNcypK60D/7N7LUM9d/xMooE92uSlb
N9znrj/dpNJBE0RbP/YG4FmKTdQS4IuGXNIfYyu5u/7HmlDuGSFKczFfAgb3YB2GxZWI6BOYXHhe
CFa7whuXmFYwXxrVr93W4jyyGeInV5Av6hHWnZLmE7WqfvIxSpvzU+CSilqYrn3yVG2TGML0S5Pi
+dxbY7nDFUGVmGX2Psi45eLeNR6c+iVWNdyA5Q9ebE07a5nhEzi60sKF8GTzeG2EjaI7l3K+S+aE
fdWjmmlMUAthz+Xx7EqcE119S9Gne8fuvHMx46yyuvTgMaFbe62c12aC+MePnLvQH5HNKSIavBxb
REEneC38QWzhCPd7GwL/qs8ggw4a7/4UGgzXy57vphkMzzVT/smk59KHd2OwH5yGQDXb3NhZD124
ZdKdgQgS2qqR4WlSVgaP77mHhmWd44ktDnw9YkbbIHMgHw2ceYojQwImYlLmIdLO0QixGCWUE0Vm
ZSc1ajYs2Olh+9jPTkIj0IK+R88cEx1DjNmA8++qTZBQu3sK5R3ymH7DYyZYUqODMWYzN2k7IRjd
9i07Uyr5YseMdx6XbN94NOKNhr6ilH2wGTTqC8QDmCjFDRmoBu04Sa3o35ANe4FydbRo/FFBGTAL
7NfA5OxxNfSqRqRrM5YQijj5AdHBn8cGuhVBtrVEPBHa0t3GY+vfJtlY7Oe+u29mcZ4lyPXR795z
bfwJxSDQkgKbjBd5Sw3WVZZcCPQ6HF2j/FRUmI8pAstVMLLCzOpTTNPdrCsAkxoUVQhuh8xOspqo
4ZyabbPC1JL6xtbt4nQblFO8sB1+8ogQ2p5uHhKn8c7PotPy/9ll9818cIJt2L4liMQYaybdAEAo
sp+bKZ3ug8Hg9Mn678C6GqfkHTbCYy2N1WjFEUKWHIUXWbhsrgQFMDsD5sRSLWogFwig1uAcYMH2
aiGExZ9FBlcldCZaA1M932bpV1G5IclJFQ1UT8Jv7ghwFRUyzDTChGZ47m1etQsJDEt2HNIE6/Ib
Gq8ABJ0M4grcY1ZQkxmZ94ZLJrv08fCrjSg/EqUOVcyBbR6yc5iBgtWlIOhTLZZp2IQhJZNngUqJ
cyemmumTgzNyss5KUjuhY+3sdohuHK/gqTSL/hGc9SETf6I8TKjBUVyPjFZPUZZclKuNY8RMuo8t
sjXSCp9SYp1kNgabOogRYBW63Jb0CJd73Nwqh9bwHObtaeqtXVuxYUxjcExU0x1NzFeZKxj26Pmh
sIpL0pbegSQg2EQ+AbKV2xhA9v179sMXc2zeeYTg/RloPYO5C4/+kmdd08mz7frVZgq191T/WWUZ
2eVu+oiqeHGbjOcpg22o0oBTMPWFrIbXjkCY2RtQnTDzGD2asx6RKwkk3LWXMSGZ549Wd4q2onuW
JvYB0XCiItoEXRKQHqyU2Q33V0ovr7m4QF9H8k0IaGhwn1fiqGakNPFD1WiBf9w9BYBVXETLTCXc
twJFhOPqAIeJxtBdiU9rtoxdlQf00JlIbNOx2URh/3m1xl+vWFn15Hqn9wnGpEhiC51fGvdgggdc
NYF/klzaTdXVclMLSsTCgsKZU1mhMMf9mfrMwzuaFIEgoyZ0HzSBKuurheJq9jOH3j153ODryB2X
3FR3Prgo+u8a8Xh9Vdd3KDRDPK1gChB7V9QgOpEooJI25EMnstHtESLYwd4fvHCPDYOqIAuIWZH1
JmxhoYgqu/VN5iYt2dtNTrZSiDjutg6lw9eCF+jb3dWaacbGZzyVz5z1mZnNyYHZyym3copN3DR1
/pkMsXmwPJrBcra2uZt+VgIRK5IWyPWL197SYjcMDHCrEglTxBMAQZVz59xX+2S7kF/W5YISwACO
SROZniFcPAsfTjNg80Y2uq0nCHoRA86gwjwX++8Fzbg1J8xnKDTY4Z0GBGIbHQuHK44u6qbEaLWS
OGCVh2Y2LZ5FO/Kjc6zG9EwOotEX5VBxwQnXjLJQS0YdMcphpFbXV/qkzf5tSc3dtlzHInrPdPQc
9xMrHTMk5GucdhWBOUNo/DgaGnXZQsXRMxOaHAN1hzUEnRXcYIPeFbSYFoeOzPKL1dCLs4fKWVkB
PyNvs02SIIUYbKj/mT6nrvPbt1iPIM7f1QkVtQlkK7ZZ5xPmx8gZeRbce2MQfEi2+9hyk0y8q0Aa
z6BBw3WTTe+94ixGcAi7VcqHLSC4JVNGYWSgMpNys1wZhpGwBwOKOzlCchtReNDg3PuIC52yCDbK
Sj6v+8ncLsFV1XHKLtp2vwC0oagN+ZJr+45MTg6EyedILTlW+lcy89lZtQFaqK6wQyNCAeqyUNvv
heVUe68Zy1MWghHqMBBI1Y+7MuGQG9iU80ExGC9e0o83gyUOrWnezdKTt12r+tuamTsI5eLo59V4
XGpgrxjaC3hqDg6TeFfxIC6aMtIc7Q7DX7E1HFtf8n6Z8MwbZm3VhrTy7FAp750Q3+J0/Y+h1UeS
GDHJ0o27JU/gbMTKJJh9Ql5tcQg5AfF7SwYSypGN2LfTaKaHaMYJzjr6yLBd72fbfGzc3tuxlrgn
R0UnxCjUQ/BvGo74hzZoP8LCstettB4SMLCbfjK2g8cmudxU5kJ0SJT4ZZAUscn65frRXrtxJ5xp
grA6QROU3/I8hsRa9CGZ9pxmx95fIXAyj31w8Nsi3NPkJzEQfR+wQnNTDGZ3hBkI4n6R3VpKO2vL
ho6g+PQoDMhgpEwYlpOa3dnxVjKA6WtGfzyIMXT29FemUYLmPm4G6scHNycIZIyxlM2bDnePJBt9
sQBxLw3GXU0lg8SBoqnw8ifRuxUynG8cdsHGI+SZ3XDE74V2iPfWTOu6A1Q5eK99E3QcgyiXYtQ9
lWxfOyrjdTuyBl0XItor4J9CJwQBzXYcFYbLw/45V8tpVPmc/VP44S1Pv89cgtk9xW27akeQcigj
jqXP1J/Omgbzel+aIEuGaGoPJpSIJRJmo22BogMOID+N1VhJ/WYZGK4jyjICN+l/czwkYmndF90N
rhfUtppN9XqdPO+XMaBNE9YSzYhj6PqGIeiTcUS1ZQ7xy0whuKF0Za+HgWKVZLMyRN8l3AIIU6xv
CHrjhmdyY9QCN5ZCLBEMEUXrSCMTVx0dBZ7VFL4TiNaMngELlm2x1OTIffpeK6oehg4JwU+BfySF
kGi+Jrnp/ORzMf/3svgsK+4mhLSIvS0DsvNiOw/0U2z1rxO3FR4lSCp/vwXNjqF3hucbOPCzRYol
K1YOy3tdAf1u7wjUZn8MjqmV/MJFLzfVgBENKgRlCS+qe38/lS5H36iDQp2b3yYGdrplwcbsWPKj
u3Im3Ft6wy2t62ntg4MhUaNfuTEiE/QBcsHZcwWwuljlI+f4OyPGIOgDFLuu5FruNKIINPus5HLi
wJfzctFR8mEQoVVpZ5+hnG6vLXVsJATTc4pHJlHTgsumjSG8s7/0KVna513ULJSLvLw0vrpNWWRW
RvlJSGOLjZjfpjHL7QyyuhXzoYxksnFpn5MFxOf4tzVRDTeGlQ+7cMg+yZsB+OhgliGyKLW1cyoy
BBTuEJJiytMeTPecSZK7linUqqRv+6Z10uIWqeNd4QPrLfEcmkOwtDPUd0pD59AS3n4JavN7HJ/i
sLY/aFSgeK7m+ZwKLzu4ztytY8zqG4MGVW3CNq3b+pi6trp1Rn0sNYe/kNTYW1jEMPxndNY1sUEh
URa4eSGkVMg30fZzOzcgD1atT4BKPBQbEuugqhvVp1tZADwKnsflDuks9dWH04ttV7cwBe6GGhxI
1C1pVuy7ZieO9L455CiLsR595mG5e1yzZZGiSjSXlWAMc7ZZFhWHSDkeKZ44EQcfM+gwv8Dn7In8
bVkPeU5QHfgE06SfiR8913n7UM3iVz8lf4rCOyRDxaqWgWWjq0FEAi18yMFPLeW1M9AhdNKls19Q
7orlIWpHfpCsaezN7mKFLJv7uAFqjuKH3AvKDny35NRONN9MVuSwAKle+Ifrhh1xtjXtE6Y5IpsI
Gt1kDDxUdtInuws+GzM45iLEHWgfQUZjz+qbr0gG3LPcXKZyn8eAOTm5VviZq7CcViSlAzTEzDJX
bL4E4FHGMkhh88s+PczUq3gOD8uza2dy3pW8ndEInsee5a4zs3xlGD30Q2pFtZQTo0MybItbOajv
o4aHwaxwS0ta3W4s7mp0eKvrO+80Lu3Mm0BlG09KC4NxPPY3qohmDu/sxRs8zWwEcIXlqg9Z5BK8
VqMPzZ7b/wqiuj4uMXhKDBK3Btppeot8vjEmBKXIMnIbliXAvVsMG6/e8tc8D+NKdw7gS3aVGn/t
pgT8UVvheprEHZhCroLwOxYwCMupmKv98vfmhNSK0jXYFBqpEJKhLmr5JAUT04mUs0iRSM/PWl4r
WeDAI63qGNTu9bjT+Ka9th2eJJXe4ohauvRsOklFqETg9GioaIdUBtMSj8W2UdwUAZ6mwuv48Er2
MFUWn3bp3HR5gH1s4WRlaXUofDqKAOgR2Hn82nOYTdupPLkBfKpkOduXBmDZ2v1yG04qUcn+nNCC
9pMm3BcGyY9UPq8aiL3Rcbjj7if3DMvA1ZobwGbnBlo6hYT3RUT0tZKjeFlQIvgEdPjAjxjuYMgw
Bueptd10hbzNYxfvlnYFIR0Az9tl2+TmqPGkz3ssGsZ2bnGfQe7nnvuo+eTAsIYvEmONlRoPEF9j
pOwhU1MBpBPd3TrqhLm3gNVvSPd4EoN67ZdTVtH5p16Tj5PGbNOBybg8GS4Z3u5NMaefg81D3wlv
rxbcq5dT1ra4ODAgdYcYiT8ayxlJyRzSMl7ux+HKR6q14N3+XNduvHQ0GiwU7GN90PD5qRv5yEbH
eQraJrvzJ/FdlJ9gzMZfjEHNCTqlWyHEL9D04mQ+wrmcblqry3E/i3DjEu20RtaQ32f0HkAlNjRh
PH+JJQuZgdfBE+OcdTUk9oZvscMojDwI953FE3QUWbEdwvElV1OyCbscEc4kGfGbfbqmeQiDG3qo
OVjRrTGzYtn+9Bw4aKJ4+HFrEDoVtOF80FJeLN7jKfMRsk1udxTp0O666V7S8ZrRLQVZ9BpWVgec
u9uhw/H2OsY1ODfwNGBGWBDDsZqG3a53FHtsTAGEuaGGe1/Nu7HtL2CPMLVMefFoOShvapZvjDSE
UwpbZbeSEzzRleWGTOnqMnJafJwRcCr0JH9D+vzPf2AUyH/9Z/78VWNLS+Ok/8sf//W5LvnfPy9f
8++v+cev+Nfb9Iuzbv3T/7ev2n/Xd7/Lb/nXF/3Dd+an//3dLUTAf/jD9ooBfFDf3fT4LTn5X98F
rIXllf+v//h3mODz1Hz/y//4/YdRM+25vmMy8h85gzbwQGgN/2c64e3vbip+V3/+iy/6O5zQdyEQ
+r7J9iJM04G/8e9wQj/8JxT6CM1dwEGBZUNt+Tc2YfhPDI8scGjQET02cOBk/xb17v/TwrqyfM/1
hW/6pvP/E/X+n9kTGOyAmwVwMcLQ9v5KCKpMBSQpyUGiz2rYKE27Ugl5MxGwlU+cLuuRkRRyIXd9
FYzpkW5VkfskTrX0gCbvD85/ggJ7NJKwfv/DpfyvwBh/QbBxcUwfegJdbX5NeGZ/oSj0RZj0PIHT
wZDqxkYYAgDYgohHJOjUM3ITZUd9SypeqWmWMVlqPMq3//5NLJ/CP9IluDoLlE8I1xMW/Ph/pEv0
rjR16ybjYerbdG/qCRF5g8B9argo1C0Nxo0ydu7QZHx/ZhyGty4O25XxZua8xSIi6yO0nmr2XDrZ
hAThf6fuLD6K/kMYTbSmE0PJmRDi+n974+5/fusWsJ8F/IO5lA/4r0AjBVxST35PHenT2FJvmui9
re04hyKKy3U2MtAJyvTEvmduYtBnG7MF9z+/pya/ZW8Ul2Fkcb9e6zkn/dXMiCD30O7y8w5EHFIm
D+WLtszn0U66mxSmw1pH71wkB+VYf/IrfgyciweEjgPUfXa1EcRkbFKAl8rG8LhAv1OYkav5YKGA
wWeJgdx0smlF4hdCcGIAdkHzyJTChsRj5TtvFpsoyYbt5Bv9OiQqF40LKmA4lFV+SxjANjJLVvAI
75qlaT1QdBFpHOlN7FZEGjdPcWxciDtoUMDxmqLkUGBXcovBI8CwbR/yjl8eDRZ96KL5IFEVR4Lb
bnxdIvSmDdfPOMjcEAEhnAEaisuVXF7dMZr3sksTlj6vUek+M9B45Jj511Kg8rHy+NT4ztYyzJB6
wgu2TvGLUI70kJBeTAycoEqy458wrrPjUKLhVIGb7JekUnoev+qAiq9dbvDIRu1XkMayMkIK2zBr
PgZ01qsyx0LYfBWmIBcsC3KcH3G4Stx7vhwEgGDg29Ju3iA8WI8zajsPXRz8rVekN6RK+cYhCumx
i9o5+xmYSTk3lxar3MqgzF4FeBFJGCL4hrCztfzAQOIkwb0QAKVaOe1RphCPNgQUiQzl8x4HgmxQ
bftGwK0U8X1pPk4kr/3tKV00Zwa1Lm6pS8vjQJH/3AqGU4E/vEkv+0BdcdcgyjPC/KOj0HZQMKyj
kl7fckBuE6QxPiXt4pZCxXCgD8kz2cWnQXuADzE4jE72Nrr5x/VfSouPSQ+kWLniaWr5zENVrtVM
FKXMZ3ub40DWie6Y7xkwiQf5Ikw5bGhgvxpxjvAlKna60odcVDXKKLIBWq6d3/BYt3Py4zfxecyK
F0iSK89wGbMrVJqgxhjidOmOCLbtbFMY+f09vS98IWg31gQa0HpJEMpa3Iics1eD5WG3EtQpRWWS
yFWNlFIM3DXt7etvEKd+vKqricqN43EccqdmncuDSWRYvnzuM0MYpN0H0Q1nJxtww5bF2rBaRGJ8
dHXurRn27q2GZakzoNIMWPoj2hNG4h8rurebCPxpRTlCId1cJKeqLeidTehGtzrlO0yBICQxb7eq
Xm4M7cfYTwUmlrjkfNbVxcYdZpqoE0w3067WY6LJyAiDlRx5fbxV09zubd9tdlEbMB4xpns9F6+Z
a7k39uB82hYWiHaaGMOU9UvXeWtWju9Y0bZtqKhRVQyv1eTKdWO4uBNm1IVm3WwzGC4cq7l7U1C4
KEjLl74c8BhA4iF7ngwrNFDgB0M+0gDlwXUZr00OBpIe8g5GDE5XhD7gVJj5MIlZ8TH7SQyRfdlo
2pDDmBHZ97HxCnHwS7kQawoRnLuW2rez1n5f7NxQvaqltRBkqKiun02juD/qsPiYsIlsjGBfOxkq
NrtZeBb46dLlqBXzAxKA/EShWremJT67ki0Ci5e9DXh21NTQPUPws8nutT/066xn+xU5j/b1E1E9
C/MwJFt60N/umDx2I2vEhOaWYB8q7CIr1+khsPDGF4vbqYpmdN+MXMeC754M+b4syW+s+IxqO/u5
1u9+73Ef91yUpi4ZE3absX6Zh+SPoEM/D/kHiqsGLSQ/iCqFJ3q8cRUemZabfV+Y6asMWlxTbC/X
24S9wca6GD/ONpnn1cyjoZkHWeHvbEjoaMS/rrfIPLCaFWb8I0lmLNGd0kiLd4HFydlPH5OBd+g3
FT3WLt8NVv5jm2xAjWTzUNk4riw75xG3invXpZ1IxutWxowHiAKAb+ehuCE2sA5hemk6EvZYk/mz
wcowbIxy2vSW/RU7DErmNCnXy70PJYeFQBQ1vwO/Z2CO/GOPoWEQbxLKP7tCdLzemAQFc6fF+Q/+
YhPtXrWd4NHs6ll+QjtsUON2m1arp+td5IQsKyKefztJft91wdbHNom6n48TpL9zlDlHRjGX54ke
IA0ARGdLAjyKBLhQHfc2poSSiWX9YRdhsYbVu+s09H4+OqgCLgiK5TnvUCOTfL4yp+qGwWbAe+Df
mhIJddx+VYkfAlYq6NimMrrBPhSULMVzQW8h5Joa/fKNNCmiVfrqLT95qomNU/l96VQfDdvqSjP8
XLo42uRTcUsDQwNNlsW3KvHFsRs2y8YR6pYg7Zleacy+kzEEsfAzWIJ8vzTL/oiI1+imfZFcW1KR
CeBRebNtXf7Y2xgR2Pq8BFaRyBebkzTXdM1IWGT1hmKcb1SYfGeJ3EnUr7QqSGBzS2cHjOZF89sz
Ci4/rnWAMXLfjybbJJ8Jxjeb9b5C+7bonnxaVs741hNwQBfR4YGX+U/eqPdG+JfSZXxY9+cJx31G
uN9qzvKfanwm7As1Wht94EVhTfSbpXQ+63oElSFYk0NvX8aMzFXDQmbP5bEyp3VC1bJZrhkSgd9Y
Fw/XX8RotnlLo7Qw2IVmk0K6Jby4Xo+gk4jU5urOA9c0tW3I3K1eOuTsp9cSxErxlpOeWoWsY43k
tugDrBKNF2797B7/6t6Dcc3UIyCHol2UY69Au0YeaOyRdw7kgLRBBwhilkJ2dAnYDNuDQAx4FSx0
HTfSouWoaRlGbn7bIRdsjT8cSjRPJ48KbKN8D5Xz1MDI5NgwvsUFrZJmWVathA+JvNklTqn5CGNW
u9bhC+07VJJo/ZOZ9YxrIZVJbnSJ4r22omwNbgsfA/WV49Kcz8abZMRjeX1kbQw0ceYS/ZMv6rmY
byb86U8c4Mv0BAtpz1GEbG2ahShevkOREwKnxgNeNEYA0VLqrs0Z9b9tFeM2FsZrPRQ/fsDW6obc
P3VqoLcKfzhv7NwmJGaCLXiq7F99d/CnuVyZfvwgE4nCxeym/bzU8aOQu7IvYNrCPHYmfsmqjg+J
mo7SZlU2XIISc7Pe9RM+o5LrmScsoHoiAyjL4/vaM0mVL7lhKll+SaUeSb2hSEt5zB2f65q5bzTh
Au3Md7Z6l8t6m2UW3M7aX4tRTXs1vOaKgVCrf6KCR2cWZMY5IzaQgDUpsfv7nkIPYWfyEyw/v9TI
n1D8e+YA1MIrL6orPrKsujTGZzGm7dqOwvs6u+6jNSqHxDz4tNmEl5PNzLSwqtmHjA6CS0YyfVab
9rZU6B1S+F1iNHcxAKOVdMjWkTUlYl4vQzdWH02QpzQ2ZY1MaW5/kzCy5aFkMs2Tfq3n6rG8XMug
1H4v6Lysr4txZgXP1xrkuohnks3VysyHyMHJq3KLuifvPuw4Ao9Y/CglidAs2eEsHhGnCp6bMr2M
lfzIGk419l77I6ScFwcHTzxTZoQxu3O5YCwimX9da1/fA9cVGezhDgJ8TQ0OXKg+sB4QtJgWP2bD
fb8U3IXM30OON6jNKCE9M7pJVfqTWvkHjknWS698gPGE/FCua3FjTd0FX8quVhP7X8BJGzdbA9qk
F6ulRJ2X5X/OYfG2DLjYj6g2gg7dofXOtISjRacPiSTTrWQjFZP3VIT5Q5VxrXVafDBxQ2TSrR2C
c4S01swYnlXK6LdyWCN7SM+T+3HdHWc4Qxzg1B1ugZuWEpwDRUqmm3sRovhIJVVN7c9/KFCw73E3
F2X0bMf8ysvvPpJQFyLXZljAJ1rSvYslD1Wd/Vx775i5acPmkDf4haxlCwhBh9D5oAggqpL+67gU
/3Hq/rarb5WySABJOlWFfcn3jZF/X+99um9Ek0RLDvbyigKEC7XyWiuqmErJJ/Lwbv1q2V/ymaIl
/bXUC64In4uAQzeTI+KoPUS0y7UJhvkWdOWIwUp/1v1HjpRiff2Y5+SB3h/aPJLCd5gJLrEVHAxR
QEZi7WlV9QH83cS9jQHZafy9TMN618gvM8K8n1os1tnPckTa0FNhQXsaZla763287MOtEAdz4m2V
zJHwEl/0EJwH62EyR/DAGSXSZKtvSs0P4XlqJwEclm7x0zsa55am59wt59whYSi4JBJw5LtJjfER
/bk4Dv2ZoVV6S4zryWj4IATAvNabjYNhtO9O6r70ZvA7CcM7KHQXhIZUDdYiTfGKPxUz0n3Gnbu7
J2VuoCZ5TmcPB2wy6L1AHsdjby6nlLS2iR4bsNZubNij40yKo+3jPodP5YUhuIKlqFx6AJbkuF6j
XlkvA9LroZNpl0eIKGUeBSEhuq+5G/3y6+mskG/ga6G0sL3oxWODXBHHgOo3Z5OcI8ZiZZ3uW1g9
dWtP5GxaZ9XADzQjRv+M/gC+xA45duGPxuu1ypliZblLbugnJLN+H2meGhVHu1GDCcLFf2azBjdI
JSaBVdmEsm+B4vOwk1O4wvICzd6afjO1ZAjBfe77/4uwM1tuW8m27RchAkCifWXfSaIkSrL4grBs
C33fJICvPyPhU3fHrYqo87C9ZVkiQRJI5FprzjGHYz0kLgoxfABe3r1yMZYnkMIViqMKOd6YwUso
S0AKOqYe5ddwy01CYA6vIxtOqcC3J69FFpU6KjAPTJXmPDpxhQvv//1RsfE86cWI35aYTHKkwjLG
6I1tiVHy2spdROBxAa2sHt6EeurlIAKTzcqhUb+7fLMPACGXKLW25ghmMxvipxqW8k5XKTYDG7GT
a3cgceE54cWeIDwtuJXlD92A0Icj6/DPt/7+iLdwazCrFafln1A784u6GVMBK/l3jWj1n99Zvvrn
h//5hwUDs3jqlu8tf12++ud7EFD+dUjLN//5mX9+8N++92+PCp+HThWdmv99eQydecSB9FJYRsrU
tzzQcnity1iu65AnLP+w/BEwSI0S4iKNXGva8/LgaedDYV9+b/kj9X+XfjwekRpMJ4Noxkg4Wgrh
MrcQXjYCwWGDFfAkBhm0Z+LYi9Py99B1nvvKq8kpyosT6XXmXmagDrsC63107zu32/FeylNA0ska
9NS4xmjmnHrXwljgeB3iZWUYXL65/FHXWbQRYaIxiRPaiS4YWc8B+ZhtOyr5aOKdlq9YTt1TXIFD
xUVysI322iFW3YEOMyHlVOYpoiFzCqbh2UR4grOdCrNt6l8pW98qoOA4hozc2rGn+nJzYAU5NLcM
2oHUkz3XLS8Qyg42XDydgVMcSn84BJEACFlAVo2tqsD7a71lmuP/7qdtMjFga5Coh4nXglrGP2FW
+dZ2ciZlSfwwlJTyR99G8O7pIJ5qUFlTQNi3GWgVhImV1UWPdguzKSqYpfFGnrhWBRd9zAYCAwr9
xFuSDs+keboroy0eNS9r10Xj4zwmFzF+C/UQ126nYVXqExY0L9+0ENDAZWq7SVPQT3khfIjgN6Tw
bZBeKwHbBzgsFGYFd2fnC5OHSLOemF8oVuETqqBn0YfXGf8Heo7+MPfmK1Z28j+yOORG5wEIEt4f
c7J+eYXL/KvWwKPJ/Lff4guF1fmrzvfYpEfM0Oj6NLvaI1y/2kn/2FYGu+B8vITRRLnisPBiF9xU
veUdGRM8EHCBI7+kKGX+vZH978yYhpe2bcVWMAKnukOiHHHIDieEx2y7DIzsONqSKXyC2xbV3NOY
A3bgBGJeH7qHvImRA1VGesjBr3cONgDbc7HjlG6xMZvoZcwdEnX71DrrduOtUMrHcLZ7QCgtrn/J
kK1LTfYC0w8zGrhBD4LQInagsdfCpPGBwsrQouebT49DrhkHNwHTJ2vkqGqajNSf5ws/65qoWEwB
Z98n/rlkDHkcwBO1GKN0urdQ04a7YTUBHRj43P6rGdOGluyPTTkY9G3lpeqEh0PX01dGUR8qgaAz
dygyq6D7zRFQrxgBQn5RnW1C4YsBcm5NHhylVUSy7rS39OiU+gRThlHTcRjJNo/TI2Sc7pb4ZvmY
zkTxdpsCHwSG2fIn/TgcGZa3HfTOPvq1uxFDF6Asqn5RGh4YVN8tbo0gMb0bbhDEuEGq2I30EJOG
p6qRTCdOBGYZSKzueY8DvWtOIAwPDWSOuo53pj4cbGfeuLK0dnYLvqO3jbtnZ+GqCa0nXQa7otU6
znukGJ2Q7/CTrrQR3pwApoJgsXCi+lo6/kNuuLcgoCXSeAH71fip1eR0g0L6ReFKS8VBC6+VH0iZ
ozUSpmvVjvSySDjL0E9C8BhgVvv1VyaTgyGVUXcSPbJP5xFjEQ4vSQhtB75qE4K7GwR+lvormpOH
gSA9LXM4GYpH59GKkn4HJVU8GsryEFZ7rw0uiLxZZ2KyB0btuc3xYfYVDdk25LQlLNkxHosRBEPn
0K4KHUkiqE70I/vyQ1O7H0ScZ08mZlvVnSucuUV3UP/JfTTYquiYTXzABV2EHEh2QLrmKpnHZjMH
zrURVXOoe7GbzOjWVfmDn4x43aC70uoznuQwPEyJ7AkuGfciTps1jW8u1CxY2Yl3hBK4nQPs1r3E
tdOjMmmZdM/0Fo6R3e6DVNcvRZZED6YkgBPVJdL79CqxSrJ2Gv22JEHv/CwG8IoI23DbOQPphsFV
7wi06sMs23aT825b9tuoVDxUL2VLJgqYiM6U79PkX9nJbfwBPHFs28hNCBSP25/BDGwhueEmIRfJ
u8WYkIaZ3l8ZfLgM9wB7mR/dQL+3tg+dI07+gImehEZBrNfKZkOSlmG6AWP6WpGWTogjIu1DF5c7
hqdMOKgRc2Z9UYz0ohpuludsZtO9Aulp1yk3Mc8en4mE/iWsYRsH5eNExoDXTyscOVmNRLY2sk1q
IPvzsr2s2atY/a8kGulN1CW0gNy/9LX9BSyfaRgdRlrrTEq0DZxepmQIRM2HqqxunWPc0e0/9Wr7
3nZHMhe+fCaEBH3fNAyLu8vgadGlwzGmtcFGYh5ohvzSVTDN2k8MGNvR1a5x1Tx5lngg7+xGAjcl
XVk+wKWxBvMrMtkGm3VzKHTjXYbms0s2YYh8wxbhRFvLrhEDsi1vo/hxbOtzmpAAXPUHa8DypGjm
TXmIZ/MHZsGrkYUXyB9PpkP/gGBaxYU1T8gAESXkz66eXZqQvRqCDrIuwiStV7NRoFeKaFNZSlWY
uS+Cmouhf39FabqKo3GbNM27potzTj8CCfa7+mjUQxHdcqhZ2YAYsHg/JN4P5HlrKnYkBM3wGXjO
L1wit3Zj+Ugcx5FEFT6OHt3WxDUk53nrGW92EH3ZrXPwSQYJMpuJV0RGTeYeQ9BDlZaffAOicor1
3LHkAz14NDsGNiqDB+qO2ngfp6FEWYxqhajSNAo31hj+pJ/yMr1MYUbNqEN4oONpBZayjIT7aPZf
tJwJBctSt8+ymlL1PGvFvJG88VPGyha7z62X/yzmENjO1aOpQ7rD0U7qu0YcOc0k7WfLStYlJdlo
Xg5mxjAQzkzZg9DsffPQjSB0NAxUTaJXeMrSl9Ge/tAT+2Crsqmr6lcTnz3c6mtAyxToUPqn0ki3
Vn4e8/wAtou+aHue5zrYOQacHj/1nkG13F1pR1TY8tA3ltgWOJTWmeFeLagz655SkqZofglcoDNk
4pwd2muoPU44+tF1E0frudsie2RfHW4goc4bOw7u9Vj/qQCpO52S3Bigo3VjW+eafR4n/ZBUgMDK
olNTpmrTeeNXm9ZfTstdv7A4CXV0+dxTt5AHc2MEYcg8LZoUsf0ytvI7Gqp8XyBRBmkbEHdaUUbZ
4afUONfkTMAKABDE/JjINcJMgeojqO47rMBuhKjHIf3WTd7ERH1U5+YeFhflRYT8WxspqfIme7ek
cM+OQec40V7ocD9DTxLrJONG74z0aE3gitYkT0ZivExsklTnBQ2MBVUjoByM3HUJE+2QaBAMx9Ta
s/r9MozgnUSOeA9457MvsNPTXxpXzdjfSwao0chHGl/Lcv6ErAqhpeCeXhH6bcl8b2vcsS0I22X5
MZicIzLJP3qfxmkqHHsHLg6GKe02bq4P5kQEYCD7zymKdr0yA7tljVoH4QNZgNobPi3ek6x+04bp
wYkx++vdxjXdEVld06w62RPpY+8lHIJ8MsnwoG/i6rhbZAlRMKKGRkD7TVpTttrYzLpWEDduGAyv
MvfeLHpyIlVZV6ucvZ7j0pWacmrhNI+fk7Hey8A6WGb1OfRPRre2PeOrnpm88t+ELoL9+rqXyjYt
d449vOpM30kiAqiIE5gZL12xGkRDbmMJIZNFl+lW/RpQRrIT/v4biWf4qRhNZrTRE+ZOXg5gi/Wb
p4DoulaPFpdU4pWxH6KfzYDQ+H9/FdoIqxFiEfUjPrOrMV+errT9g3oIiHqrNAjWk9tvJx6Onbz6
K1aAjYjf5vmqHjeETWHyf/XDAc/RRx5wWiNlJeSoRlG8z6j+4/TmlZsGV0ZF7wyu9M7ghlQRG1Px
tdAS9KR8rf6N/yq/WWFh2IuqXy3fZ5Nq1P22SWhY6F/y0JTaSoho+T84rQNVBXIcEuo5GYFN+/y+
+pHKcHfqa3U5AprYJFBBm6E9CIJmW8h/T6xDa4OO3dDp3+rJi25KGVHS5o3lcwWiSAjUiPwGxkPQ
Sush92nhFFw4+wphmfoJ9XxVVJ0iXKrqWO22zrZzHtxF7B/Uk1dNv63UC2BwLdLxyCx5xHahHk4d
l3paTb2cAm+4eu08Rm3vQ6ot9duRpz81TLKNnI4J/9zIYK3eHvXy1Fv4r5fqc1TmyG6Ovlk9U0wI
dnAM1srR2rJ+7wD0rHK+1zIBm1wssnytfqZk3q87XzplC4Sik86PtunfH49Dfa8T+xXwcKkfIIPt
oCCwaSdbJ3J36lsg99fQMnBc8Dq7eDP3VCg6Zlgj+6UeSoevmRMW7NB0n5rmS5bFVT2k+hm/JOni
Sf2EOqai/BM9/uugQr6pDpj4u6N6Kp7iQYIELyiek9ZYnk49nCP7Aw8jICFTorwg7gORzu4l2TpF
ecmbH3rJEIsw8SugZDQH4XzqcMMCGExWkElxYZtMOkIRf7tstgVXVSI1g5Q7p9pHIZCQOJuuywAf
itA3t9ubNnK65japx1F+CxMTnhdI5J6JuSnxRjqJzrmkoiMKTkUv6h6SIBj3yBG+KyKWxpFp9ox9
A/NaAEzVrsGJG8hDEkhrPxMaetxszGeqhS8lEWfg7j4tMgir5kQdSCtT7dteDUWs+maV2CXN3G2J
xJhKCvmWeLj5EJl5dBQhFtChuAWzh1qnM6ibJPCnNju15fCs/sv92txWSiampGAtoqFF1TzsDLdl
gsVNBHZI9K2y3Xex+0uDA7Nu7OmjQ1bOpIYWtR7T+YZGsbUFcgPRuG9iTj5FQYKEUzdrlYwk4WoP
1X2yu9c0ZD802zTZibJldjdxz7AGyjj96I6FfZzUDQuwq1pR6FIqI9LaC/Xb0u72LLrpWhlD4Ns0
eX7R1LwSJAbvds7ApAFubcbiMGlWfPCbElw0RkhH0BSe8unaEa1Bgnf5EGZsbB01MtM7FBRtkf6y
MMlsy5Dq0ZQcP6FYcF+BuxEOA/JO1zp2TAz3j7IxDnrOAMmMdcKpgy1gjI+iMgogfymq3Arhr7B2
s8GgpfP6cm31+muF32bDMO0ekBUDCKTwVmpIAWcpPiAKBhelhpPsnQ+FS++giGh0m+j6QFyK/Rwg
9obuu058miqTnPbCKYudOQ5nvcqsY9Xo50aZDCdJOJJUw0zbxHWvWvjZMS85zEV5VSIVW+loVzOu
6xgYCF49etmGGkNLA91bVr6GAZvU5UT3XFwvfeFsG8O3t9YY9LucSmZyh3hftAz9irxq2WExd+7V
KV9pLkEi0k52NiSPyRbHSeNT7bGzS5ytzEOg/9kTGRPslhir2E+ET/ml9j4H4y8ow8Y29pPd8tQ1
oUuIlLUYN7jCeFu42iCBof8ia497KjWZKB9/UwqqulJ5WblYkbkpOVhRPCRzLDd4nc854Eh6X857
NnrNupI0TvvM3g0++5Y5xhtbTvt44jfdxF7bOjsqFGE3oZQZkjUaRF03asaiZNgXdn3LC1rNkXRJ
1Jvw/FomtkL4Wj2fbfwBp9lb1XQ3nJHk1sKIir0cf7HjVJi2ydyjaTh3LTFxo/lDNxhORDLDp8t0
ZRoxLfeyuIqo/MW8O1qhvPG3eGNOfVBf+za6YNv89rIH32drRPSOtZ40us7qWgh6zm0tH9/QuvTr
ymENMFJnRVY72zK9u/jG0QjpE44R6i1sRsDcmDP/HaeqgeKikspLjodN3rqd47sjxYPBft/NkIh0
ku0RHoYECdkxp20T+RHATzU9thzJqAsfUpLFpx5kqxoXLUODJmMux/bjji+B4a9SLqi/6VZ5tWf7
JUdByLCHwQ0XcF+Zj10v3mFNPZDRC5qpvKdDeRmcesvtYKcnDjMf2ZME5jIRKPsC/9suDa6j3tPA
9WC1zOjiCsGuTD2JZBJdBMZHVpX3NiO4AVIopSgqHjV3lwzLsLPSHeICzh1Oswxcc5Drf9T8bBHm
zAPrME96xrujr+gV41QKmNNSo1lRuvFigrS4VpeZ/UhiFZJW71wn6d00AIVXnAtwpGC1wcdrGWqj
83Z3mYS0CtEn6nodoDc3/G72+0vbUYHq40cUtp+4gqkwB5Q8cWQ3OCzRyCBCuRkzPSJix9fNCOir
VzDnhHAvzDsIK4F5/kYghkc1MQqAOMQRhrg42IFj6GvkQfYZKBVchxeYubvKNi9ASl9mRt+0DjlB
nIFiHU8Hk3gwsKyjzRZ7Urv1iBGpWr8+MWTDFtqPWOBRepQJyGzfgcJb2vfEMX9VffulE7S8FTN7
gELHaT/wEfgW9UW4Nlz375iRtEJF/WoQ1Q0SwDf73zBtCJIAkrBazpi+oXqwem/nMpPKGc41YftO
QMg+sXnnGpeZttt9F4l3+yueku3PovrW5HNcHgurP6eZ0sWqkV8Wk9FlGiddyToxeiJ+BjXWxVju
o2pAUAO9fx2ExV1N7Bw1ZB8Z3mynKf5WQ0HHq95bU76m+F86VW8M5BCsaQTHRK07z5w3L0WjrXTN
YuOqZmc9KpGq9H80xFbIkQWoTJh91n7EIoybfDNkyf6/64LFvyUmIwQ2HIMcUKTVrifQnf//gubG
5EJDA9sdFrcPwAs1FGXy63lJseEO+oq5kQ+4pY1o4SpLMBMu2oWk500q4MYt0kBd2VlHbuxKq1TH
nA1lU141pWR0Q7ZFAKOPy9/sYFSne3bnPalPUejszahzHiZBhaNXpyTrqd8GxpG+GuDVcBcpQF/m
kPftv79w+z/l5H9ftnBJRXRd/98yaJFxlTnE4O5AmXYAl/g4zsaD7yIe1bg1A4V4SKvvEkjCxjRs
e1V7Bh55Q2kuyoQLgkoOVQDblRL93aRkPhFKAJjhyTebkJ+4ftmAzf6XVyvPqbfrbd695S5Kgw0j
mnYGuiiOZpS/Dk3AhYAEOdDib7VtitR5miph0yj4PP5q7ZXAoShoBQX1dGWX9SkbVmy1wuWOSUkU
DUdPr+MDZO/qTx0T/0z89f/xpon/SGjlbOGFmsLBl89w99/eNM/1UnfQBFCSWCCAwyM4M6N01ZZo
meWOzWtnMhZbxJSLPIKpy7G0aMepWwsFy8UtfYintvYGBOcxBO2ziGMWWdM8s3i4zlRSxmXnFBTs
ZnA4hSI9eqZN+vlXzWaJt8FkjjtTIilxQygB4qfNczeM3FQjMkh3YURTWl2B//2ccf/znBE2iwYu
DA8l439YEEJyy0w/DluYD625g4qoBRDV3IjbRI6bHGEGXkMlptfNhJ6gB+ZcifQ0ZXSNcyUCV2ry
YAqe7AouWu1uWfwOs8NSlw/HtkJiuWwYxnp6HlEaQOykkLDy++TxzhS+fyMgjyc0aLeggWD90c5B
LpkR+RiT1MbVTnAG4xP8zio9hFbcbqVLMlDooaRKRhQe2XiAXnxI5mnRISWSuCy7rY6OV6MtVPc2
KzL8vR1bx1IJsbxwqNZGxhhI0D6KKcH3foP6M73rAdqjcHpLkSbMbuvgB+DuyrgKMrmd1ujJ+cTN
xN+g46YBZh1rlFj/R7imqbv/uYC5wsS0IjBmCMf99zRSu9dElU2AZsiJY4Vks7rvvGTcmBaanUI+
OrMjAPW63Err/uQ4NYyYIfrmnlz1CJvNLnyblKauUjoryAXnyM8fPDt01lrJL2lx8YFXnuYC86u/
i1JrHC2nX7VDnWw1w/ypy/k3eZB3tGc7WMA308++vZSFI9de6bNwQ20AWClVWdoAx4P8+JBY/X3O
q2o7kR6NXeizVjpOK6A3pA1RDLgh2+IEfVNkJ+Uelk++O267uTtrNcDMdCCUsinsc2FI+2wjd01T
kR8axiQRD30Z8vEU+EPDdwrjGEhsb3n91NKrgzeTAV1hg6AQPjpqcrSzm0rSbsywP7O0Yd4o70qD
79YOzU4WPKUMW+RsokOBbovfShDbAIpZND1Ok31nfrgjjQr9r8UucFFSLf9uspETjfasD+F3gcVX
SwQ5AO3vZUMZ5tXV0ZhgNkUPKEVdGUq41bj2bQ6ai6qLwyr+4SbN0S+DN1bKuypNqaKhGaveUJR1
P6Rv/wigCqZ2j6R3wPw9+82eNuSlJtKYtg17hLkc8NiWn0oYxI4foBrITTSM39YwPsOkPZt6BE01
QUMfC3bhs/97KsJ3aBFEsqFU7aKfZdh/aaZ6LJBHa9/CyY4lws7zkXITa23KmTJHTOx0kiq0lEo0
rotL47i3VEPBq1RdasfZAp1RYhDwr7TovSw6eqG9CvS/+rZe1R3FwEWn5z11ZFMfYjSkHk0EN6LV
oQR0VsTYKSXt1Co4XJPsRlztJtp7q7r1Bnr+uoWpokphdrJbItJ0cBvi2QvKH4vd3p15cr2r3+Pa
/LFc4FFT4XQvxucoGVAAVCEGmNq8VskIhbChxm9pPIRM9GKv+fBCebWFxmJD3bOyiR+yqck94uWO
fs72z/ApiwxXfxnr8qWKy+ukfBOEiuOMB0fecvPXA6KnYiu4EeKZbgLiIBuBzX0puzuNxslg0AqY
2d4bSv5YavxiMh6jmNSx8Cedfk1bTtsoOhtGw92DmVEmvHPloPBPOhGfG95ka4ZoEhbFDzAg29rD
yJZKBtdMxt/6tDTOPfI0WyvXUqbxNTHlEZyKPJQmtEDPzYGSzUOww5BGy6IHtVgM3E/I991bc3S1
qS2PWupkmyrADe558iKn+ctOJ/M1neklp8NFi/CCzZhYiKr3oprlqCGLz+3oOMXoPfWIHBy3Uu5x
zJ1xF1u7ImrNtTTFANzQJzQBY0XfZ3unAyA0OuAnS7BbdEk7KlWLwV1XIexBpEkUe2tvF2GQAlxO
RArwSWxHRbVDVXYSaUXKhEYE7RwTczrqAorU/GDSNSdXV0PIUgDNULDq2Z8fosJKt1hgrlpvQGKy
4GPmc7qfATUj6PpRkcvJzbsOd9Juv0eT79oaPYbSNMRpQey7LmGIy1eMDY00yE+aqT/PhmPukK8d
Kl2Ym8gRN8cv55Pfvcs6dugvIUWRU20To6S+7BgG9TDmyigd0SvCcDXd5ozkYTzUwaydYzdxT838
vfylVd9ZvsJRxxAUZzLv3pRsuY+TJii8hxnx+sGyXP8ckO2+9wrxEdd+ehlDMNUCDo9v5DajqQkM
Rls+9NQ/h1LOj6HrJocsyQycI1hyY5LSz5lWaOsS0iRZR4BfosGEWNva++Uol6MQbsvLEO13GaBh
CcqiQfwQM1LxJpgXlKHrUgpyQ71hb4ZTRFoDRLmuTi/AAP21HfN0egkEUde7Q6VQygbDw60w0PG2
KATPXv5e98jrTDs8pm7jnCu1CSGHBj3d2I57zGbPFkzxg7QhQRm0VFL2nQxaxnc/0XdzPMEuMX8L
maTbpDebs1V3zXmMjF814vRdPpb9OapAUKGQCYmCnbbpOBhH1yoY5tAlPEvTcgkCY2zIWvwahN47
ILYYk52OnCXAdASbui+oIYVIznJ6trvpsWi5XCLfuJqks3h0TNAPwpE/QLooZuPkxaeZA+jnkNQh
4JZ7RE7DvgVqGvZTt9dzhyq5Bk15sjW3pZMhVsPMEGWdTMaVbIvuhMA+OSZlgPYY5wI9QgOeOmVh
isnk5LFSc+NJyD5VjxEi5T1IbBlr04UPkMURKQ9qTqo8KhRjhNWwNSta47QogNMWJ0pZdiiztGLd
ED6HvTWCvIk4EhI7HeB0+A4d9DpIxS7LqlWobR/y6t9Z5LxZOZwwtbvIh6ncMCfbLw76sGt/DCFq
R49xH0ru7O5NLFPzCONJ+RlsiOHISogSCbaLNDobIZ1FGKomu9zJJv0CHnte5Nkwn521y0aacR0p
IyamNeloj+ijdstRLoJp1SKag/w6RhtEjScjMh4NSBJcpO16Bu8I/fW27JOaiduHDPN9lCC3ygK/
WWs91RltGoOGN6Tj+VndPhcNOeYXVP0Naz+vQtGuXuaA7m/epnciEriVITtnm97c5jq/Kz2sUp87
AgU6xiZGiaOKb77HmCAJi4d5Q9dchkSAIIwl/ZRHqkhjQXt1aYk5p9OBFSdlDlfVAHGyU0JfcdX3
PE+H9DmtEZ1pfU1pxXcWk8wcVvrqvmj7iTDpYjfeuRlS1DyVe6OXt7mLYXUT5ATbL3poMlnu9JZc
D/bdi0B4bLARNIq+MaCz37rKc4+Q8luQFbXCPIefTFDf1uNMkCdRsUaH8zUplQfVNw+jVj82un8L
7ZlZpXmlusUb4sibjXI3z+Lvuc64VhlB9dotHek4OA7egWa6Dx4KlU6vt+ZUX2vXOpC7jNHEPiwF
tKvUxn3rPqGWeJJ5K3ZDi4qrc5tjtnTTlB/Q1wAKNdcFw5KHE5YIh+5qeWrhp86ZeM1UQ7NS7hqY
9/5Kr/2zjHo2LeJim+imqPSHFucL/48lvcrJLYIVg9B1ohPfXAd00czxJAKRMpDBRRUGf4ZIsi9W
Z8QcCXqRbCNXiQnURw1Vl2bLGFCfuEP24fodGZrND6xpx5D5Cr7iVIKrI7sj4aDbY94jV7FGdk9F
yL7IwTAg+nnGopvfW03btZn2sTxBaJPXqdTKohiJUbbbmzLtWKwPrLb1h9p7Lv2DwGInUtvhRu3P
27p5TRldY5Jh7ws0aJuQO7uJtPICdLOCyeS+ZJN4rLXuIXa50AEcpQtCTQ9jRLXMb2F3sMHUyRuK
k0fbdOiPc2iKACNtCOvh+KGTmb41Xd6OjqDaVWjHJjoEfpBYnGIN1QIUp9LzA5QGGEM0cOc4f7zB
L7eDE/uXTllRY2VFCnTBoVnM6ZYSUeMhfDd68IbwtxY+lHjO6Va/6SL4rrSZAFf0kyX2nc3oluzJ
5XyVBcdKlBv5R5Hbra2hfCIMcsPqg9VlhHWohV9GwXuodqncsLfO5IJ9ru+HcvI/9Tz/NkzMAuq6
7Yzo2fFysB3Vn5QMW0M1QHI6v/h69WM6Nb8HOqdCHePI/hfUEnwzf+44RDBESUH1kYN3Pc1NdcwJ
Dlt3jqVTaBykxqXjB5a90TS5iQaBubGvrb0dodYVY/K9dEQ8lA6hFrRAxfJoYzF0X76tRRMoKePV
S72f3ug/0oPaqv1SNPRbffDAIalW1WIdKsN7YVs4JPsURtBMvgWl19+1LOSDlmVy98f0pxdGf4rI
qelGVzip+2ITuAEQVWM3RVTyiMRZDlt8E6DNRiHZVIt9VfYUOMpz12pIGofa3SnTiqrHVUliT5TX
7Ml4khR4FPqZqYTit/jrE/ETpimGQeXwWOqjKuKuDegL84zKFRn822KcWhwYhjqpSGR9I0cWdBm7
atWAW/rWpto1qwSjrJO4bwAqoCsNsfyy8cuVnsqSRboWXKgpjchDPwJbHwl3WAYAiz9Hx+e4ClB/
Ge6AlFZVHZbpreN2JyHyOhCR1M5+MDQL7/Oz4z/2c7fPS5NQQLQnx7g1EGM5HlOcOCMBhZTMIn7r
LYcPwz4nVng0LNNei5aM6cRxqMcQ/mPS1R6H2XnpqiJY28pVpnXQBVvxa1KrbEoNKrsGvHeD8Jx6
DT+ZU3ERFQeyMasISaseO+4WfrHZ8SkujlgdWMomL/wtdtoxM9q1UVDok8HkrJdDsBJWXBnUn+SO
4U8HwaSRCteOBXdXVqQkp1isoVryRrHGtWwOUvDFkF6vxgSq0MJ10c9+cRSV7oI6x0iEWeO0GERl
eLDsntKo22D11IqnZcC5FLnmgG9PuJdeS5mz031v8vJTkFUalvNjK7lQF9dt4DKvtOux34kv2LE3
X2vHTWdhUItH2KaJDhk+dX6X2CB2Xe5eqkLBAV0a+dWki2MZfFmQJFcGcKQsDA4LpmPqtenBtN6z
0CbxVMLyXTo+kKPw/LVecaE3fYLXGqJET7+bSX6XqYb+00256MpknWXXJEYl5LFrKpXFcPEsL86T
aK6PrGg336o/l5HbNHGv87rpEw7QJdHn5yGfYUh67DhaP1UqhWJT+8nn0rZaWs5h1H+5wfw0otuW
pXvr6pHgmQLyuHMje+ahKe29p+rXnlYFqjE8W4rrEIRkkufK5aXGzU6NWZaDX+pJTYfXIDWSC6Iy
peUTlwjOYTy13O+WO19SNde2Z3rMNHOnHIjL1ZWKaWfV7dkrTKRL6ZsV8lLKpD76PRq6oAOQxG6u
7liel0suVxOZZaihBkX98OVC3qcDrtf7bHrPLGp3xfcSyTW29d9Fz3WpadFucFg5/Rzageocey5a
V50wreXAvDT80mCvLiPMvyNpo5ErJFGO8kQRvESclP26THqXzxCpBbP6hKZzwzC/Aevbuwrk794Y
NHFnUXukUmdl6iEmMt/WjuOYJ+D8o29N1/4M1vCjC+Qz7TAGDmkIoPRA0DcbBBoYy9lAWl21Xa6L
pYegMWBh5MMD0p/cQ1F7UXtmRJvpZplcLAOszv4ZeN3r4iXysTavNESN9py0hCuFE43E+T0aNSQN
QbQr2A/Te+RYLZqGCpYFjlPpKFJaUHUG0QKYMe4Brg8aiWAMVFN1nC+hOiEr4mTZNjL5FPAUqEGP
pB1efU95e1l4jYzFFyI4FioNxQNqbzZC40GoO56H5BMrd3ZV+zFRjpscdI3yC8KGUL0vtdMy2Hou
73ISWR+Sfac30vBZLF7Gmzs7gOJSnbkkOd8oCwE3UvoG/Xmywm8164sj9Clz/VgNyX55LFtNdeeK
SWrS1DcK/+9Co9EE3fnk8cmvF2Ox4uaqVZ+23T5r4/3SAyKW9br0m8fQQHDKTEJNXdCfEc3Hbo8J
brVL8B7Wspt3aoSJ1IyZl8fHkjdX7M0/WopbAhnfsD4wuKCXgaLefEiz6MdyDdWGIXfu2GBYcctt
WJKh2OEwUYwaZYlzxpLT3wuvi5HWUwZ85eZ1td8ZTQpcTP4ebwnbDHVlekN2p3Gkz9TBy0rRM9A2
pnFLSMB9hE/Pm/G+jDjmHChB5bxO0Vv/xybqdUWyJ4Iv9xFfzr2gpCYQhU++ZchbF9m3cIt7nMtr
7E/YLUNjmX9bLkw0tMeLf1Lz2N2aFXfOvC0uk4IJ5EBkdxXBb/gBSou6QZ2s4MYRnqjulNq2MCMj
IrftgMqznqj9XKxQCGQeXTvlQFxkIzbRpJmV0DKuGWojn8KtqRENWq4dXEHbIiaqhk4nFzkXFmOf
kz1az2bIvEzXJrmzMDvLyjqIsPxeBANI7JmZFt1GirDb3JtGM1CU51eCz9ighM4dL8xBvWWsdD90
f9qpciZW3lqrza+Ry51fDb/VqpdU5LsmVKkpeLMVma2/VQ9S9uwhFwc394/3EJYOJAfOay/FGqzj
9VH79IrWb49PdA7so3QUB129hGgYaXsX8+p/2DuPJbmVZE2/yrVeD44BCMhFb1JXZmnFIjewYglo
rfH094soXhabzTltM9uZDQxASgAhPNx/UZeRAy78TlUwlKbz5KGNLDVHUmjWzJGgf7vwgG/jt7TS
+3Vqm9/8meVSRr+KS/LpeJff4tZdrWqT260Eg1iGVCZ81bDVHMDAcFos5PFZQkjrsvp2zpyaFS+L
P+lc7FfwY3t7NWgQiWkWKliBCXVdFHjsetG7vKPy1yLRsCKTjI7WpCQic9I50vBUz6qVbafnBRnk
xUY3UaX5dRamUrc7x28yvpCR05ISohHb7rIkhlVc0HYoqzzqBmmYAI5oboy49Cxf6h4CLrrNcGwY
KRF/NtDvWE5qzGglLz1JADSl8CeRVxSnoJl2pMW3/F0WehTTP2jxRDZT77J09sjlGigsNQ5p0hIT
6DXRRgqlgtUuum5S+YI0EeUdyXDIm+5Np+ChIWOyNgcGkvwd6CjJ3cA96w2ffAorMEsSbu1u2IAl
S+CApBhVVMML4r572dzVmJgmMT/XJztVD3F0WP+ZS0mJEEyFmXrkAeW3X7wSCkSfnydWFK09rwiO
1DTXY6056J1rKBwyHXqxvWMddamkCgxJio9msrylDVkqJ4ZU/ScSLgQO0rxolOZi2yzhuYy9LJd6
aBUul9OYBugTNqD43Ie5bnGa9B5UMkHlMbQWe4F+MO+UOEaTzaBt0xa0J3ygIWUY9fyINbRwj1FW
3oiIlrMw2Tgmzj7t/WIxdacpzKzc66FrvM8WAkipBvW0tu07afmAn89ymKT+ZlEwsev+YOzK9NBL
mZfcLS/wtkSDxJmfvfFNsdSDOgVe4nPPe3I1HotUu4rPI5i6njcwFSzwuvzRrBGwjN8xXEPdfcHl
c2CALwPSkBHjkAhqpmv0RO38GBk9dTRs1qm+6y7Zx0FOdWP12DEky8xKjskPrfFQszJykXCX4OF3
tYDulvZOiP5xGCdrbfJ80jSLcZ+gKweUSzSqtiMy1tM4RSzPAd+OLDBcJ31Lq/JsxoXpHOrMynIl
1Fcm6kGXfZ3j/NmMGCKozg0YT+iMdUC2TBdwhgZJJ663VgWQa8ycUxzoM5A66yaXiI9sHC7rxlyo
18SXlgcGq1nAweUSPFWFBO82vZLk7HZgaglnBzOOhexbTZZ0o/vBRkEuOsdj5WmH5w5Byrr2GY+D
5c0lsAWbA+ulwJYMhS6iUX3Jn/IaNobdoALUuHzflNgbpaxOELlV4KHIAUs3hyxP24BBCf+9p8kW
CsXQGsNz0rXrPuYvu803PJER7ASSu5YzuayJKeWd2KEAUtvItWuW9q7hrqASKDzqmqjkixJXidP6
QiuHOzlv1mDQSdz3JxSqoJHLJXxCdcg16OZtmL2U/Rc1hKrxrEi+4X2KbEMFltL6kvn4usfkB5wB
CfmpaS5caq87lvnfsMncGnl1E9Vvg9c/VzV1dS/hmWUmIVsMqm49uRAwRXreSic3WcZTUiEE4xXK
x2vyr9/k6q4I/YMXj4gFizuBy/lKD/f1cm4OkZQHaMnXgF/eWZV/0rRgnxvpdyXKkWuMcLlMTcMh
WDUS9BEG3r3fEYEFggjMYziX2S8XUQCF6RiX6Dh68ROIQ5J700qlOStKPWv4hHt/cOODEoZSSK+x
XuHOWZPPo3fI4l/qAKL1wvQNyBORUYDfm1Wnb0pYyHaYUfwSZ69IfOkT6y1pswcpYCSnTb1EmRmD
u1evbC8AUb6qch1ov/3cVl8WjzgI1Z0KbRep20CWU2KGhg60ZUtlN5Kdr+nKeyiaZ6oAbLhU7EjQ
ALH0r9ECvAqA+20hZTDUhmDeu+BOLp+mifC+RJCJkiTJvMGVClZEh7mE+PVWfuHgY71eCu1NJYdN
fJSQtRlIT/VrKiQAWW2eu9GChC8anKtZHIAgwg1Rpz4HqajfDYDfpHE3OCEZQtiDs85b1L0pxN/2
EehZefdp3IC4KEDmXXVOmvBcYpVgLxxU7KfWbqV2Ged4wHrUNDMHXX54n/C/GoCPALMFAk1AdOP9
ZKX7LnG+4IQC7SQMvkcSUov9z9ZvTUqkxCGiwd6MNe0xHqovneHVG8o7a9/pLsGaAYSXUmJylTZJ
SST4ftgUxF9lznfIM6QDNJKfMr1etvetBeZaLW86qTSmyqh9j5mzVWDsa79m9gSjUMpJyJWNzI5i
N/hetOgxiMmFlsiSLeNlV9JnJRTEAhqSDN4V5iUXUbkAFRCszyy7PqLWKbXh3WfZIZIcaJoJr0ZG
0QoAl7ZEWu4Sf62vkoYFRS4vNJIRQNdfaQenyZHwnZAO9oz2Rul3pQvTdeztwM17rABNtPsot24d
oOFtKSL6coDRCKaWHyKQFYK9huncy+z4UrqvhdY8S0UruWak8PEAp+VQZ3hr8Y/K2D5fSHqQRCZm
lP7NjX+HbOkTLEJ4mIzkDHeMK9f5ot8r7cNM/n1fO5903BPrFA5xK9XoUBLJ94EAptueSGI+qyyL
MTFyRJg4tXrzUJLnh3gaAwOMxUbewnlJK/7ycOvJPlmWgaCAAgiGpZbIikeUdWVZQEEo5cJT9dxF
quvJNZjKPZGjOAqil8zKX7ARAifKNXnVcpFX3tGtKNctzks+1tBkgOjq+fssNY9c69WMJ7xOk2/C
dtJdRHmT4Z5iAA5z8mloJJmo2SA8PvU8U6u+hcLHhE4ZT75sEqJNsDRWtYys5G1WEbFMp6v19SQ9
UZRakXz3jDocaHFCZrUC7JBXgHmcnmY5UMgZHM5R2qG8108JIAk0vTHllLxNMtsYn+CXnu9ZNXyD
l/zVbhl4tcYh4EanhjuxyFDbk+l7tC6vHIwDFMpz6UFcN7V3q2aSAZQPckc6oTz1/aQiEqGJfnUQ
LMyX/GhhiyovYujxKeq/yrFGzf12sFwKgEdbcKLWvJNSbD1wnJUZxu9YBRGh6vHJqNA2jIvqqSvv
ZmHfKwUpGfQ6YvmWFf4JBp6UHxTxagnDL92l3kZfK028VjfWDl19e9NUPFAZVajJRsPTDi+SHZBI
JOYJVWVBwbxsEUtYWcNwlhTjGTSpKyD6jy0yyyvY9ffFeBvlVJKhRNzXpikoJKJLT2Cj4lvU7bV1
Hqzi1n4om3r8yMYZ0lbRtmE2mqH4QEH+0Az+IS77m4Txb4f/TyoaC7h0yOj+7xWN75ifov/aPKdl
9/yrqvGPD/5QNfadvyz0Oh08doVtA4vjO8e3tvvnP0iqW3/pDpV2y/Yt13Rs4Fs/ZI0t+y/fsnTP
JQ0DetcV1k9ZY8v8y/IombiO8BGtNfjU/8g6/8vDROb5x/F/YSJ4jRZK1/7zH8A5pSxvmSGDUpy9
/vMftg7K1TZ13QDr6pu6rYSPX55v4yKU7/9fvt4WHWIS2inR4gBCVQB21fP6dU98I7NbZ22IdYDW
tk+ejTirDiI/mdqnJdeuszmg2l0j2ZaMUJBI2u1Maksr4zBDm8sIXiQoJuyZbSjyB+Dsg4YuhsTj
ClTrggUFBs9kabeRkXj7ybdhwMGbR0rxtnX6J7G0KOCCT2n64jKain1de9eGSJnFy8U+E3BpA6ru
MEmpwzTune+XD8myXI7W9EL6BaCE1e/6fD5ZxXz0gungp+S6UvTB88i9wL8DrTwTBEsXfxcJAvDL
oag0JML09ja1XYA8GFNtqz6yYN8gCoAWegbh6xxt9qqNoQXkY8GCu3iPMvxNrOkEAxw/re3S9tf9
lLkrM2vP8EdpKN++j7g04OcZY9ZqWQ/9aG3GPn3UXFIRheCa7YCwYmxvljKUVps1kUFoviyGtZ0h
zlBwNW/rLD16jn3XjZA6RYXQQdL7YN20b5093Fd18dxthqFDugNrIyNpGgJrtF7SckFCrHkwSINu
dOp8iwHztR8S4rQRFr1zgXEas+z0qCcDWiM1JqljDkOey025C61G5dgohmtkRct1ZQYFdlXRIdXP
nKS67YoJI3mWr0afoiNkQ28fqbloZvxcz9GAZkRMrsFLX8vsOg3tKzvs71DRJbkeR7u0r1BriOMG
tyf8CwXzRTiE6SrRtMsgpcQf29P3Jk+BDDGL1OQvdv5ym8W3lfOiT87FWGXjseMmzFU53c4T2M1Z
mnl+x/QX0adGX1d9cG9Py3XEszaDuNyP1LRtnZq2B8WbaktqrLU0gXszu5soI8UmRu+AtgUIZ7NC
hXi4Lz3s36KsP7BWTXeDREXYLVKKPMwVMSNNOTG+5NlEgC1acjNeeu6UdbIzYMJYE0J4RXaw2+hS
DKCGhBvIWk/xlHvVUxqlxK/6o+ViHpZW4JpZxa0oij6mRfEyDxe6XwBGAgWRepS0LGSNwW0TylDV
YYoqR+cW1tgZJoNQYKEbNaG+aZ28R+o+uHbs9tIsLl0iFCwO7FskmJj1y4ON0x0MfSiSOvAJUaan
bhoJDDuRXnxuWie2NmXBJeYeWW+4x2h1ZuP85HutRN1syV2/9akAXYkFGYKYdcyaOX+oKh6ROTjb
DvNeY7G+1sJHliIaSBi4LNsB7awQP7nJusE6wPcbVrEuXjGySzbFPGAxEJ0FdofBjl7oR8Fa8zhS
9vjY+zyn1cYKYmsmFZjUprfS8mOvlXtyMN5Olvf040UpdlSDDibDb33ua0tlb/K+gYKrXvvl63Ko
61ZFAZUMXH+cRlSCaJgfR2nDbdoaMRY6wiTja06gL1Z1DgmjsDGOsNpoOHp9/AJ2dWL40FFIaMmM
oZYQHQBhI50doNCVlOSG/dLpjpVfgtEB2/KxN4IgRdbX2H2eUu8gwL6Mp9jdfb4/lh9Sb5uZSzaL
hPJoJVpcpocgVoXgUL645r6JzYTlqjyHqHp1VG9RmwLywBmk088zn++K3ZRPxdLXRrfgechPfnxT
p75PnRji5DYETSuFDUggDuVd29vBLi1i637MtdOMPNmYJs8QPNzMJH0QeuLrWD5gGGas/Dr29nXp
1tdGi27W2E2WlBLc9xSFT+NQ3o/z3Fz0ZmRi+4s2ihT/6jtUcxrsmM9Q0ygGc2VGSMSC8L9Fncg3
ZYqkQhRJ5BRTpjq5hBeMZ+w83OcxpbBiIH0euAuM7CXzcIYCzGGG5QMOI8h+CP1cq8gSdwmSGhmm
4F3UUcXEJ9rHim1GADZYnhqBeKCtfV0EmcpFw15kmpLuskzbM0xYy2O1tJLh4B40cG6HfC6/WxMB
Y2fXEcqEg/cQow2XO3gadbHmbCvNy0kHoO0z99TU+/YWicTy2hzcNXbHW6Tb+/ul6MGAQeTtgwmS
5dSVX/DF3eZzdJsnUYDbstNINjcu5q7+NICL3iNe6yHUw4TbIkMRvfbV1Fya0U1D69qNkAWoyWL9
Dq4h2cxFX+Pm0rE8ild0Y9SEhjAPz6ypjkgNBidL9rPEpmNFTcvCQR17yhrNP5tGTwfxgM3mUW2W
OLgakF/eEU3kgDB1N111HdmCrWf1QkpRBXSRlh6JjpxxliVHZ4I1s1a6YODz4HNPPqtqKeGmNkFF
g0582Rg/j+dKN/cVup7RVJKQMifE3dSG5Yk3VEdaaHN02hmOTIswoKYVZ5VV1ccQFfFj83NPnfs8
JPX4qKGwsyWZVx0Bf1bHuWB2RyR63MbECgcEPgi+Qbav1atWRb0gNkHL5V2M8Z/Dyqgq5hiuYkaK
T27gxXggc+SuZ3vVEeDlF8cZvO0cw+CxiQpMayjOjDrsjovcxBBpjp+HRjQi1hqSXcw9Z0BLT+vb
48cuZITmqI5RySDNnVYv6CW3ZARR3ks8DN9SeRuyoMj0dTa782FcPFwG3PpYziP11WQAPyyf65LL
wZFcK2NnlTv72vF36ilH6F1wh6uDUn77fMpK+K3V6h/6ceqFbE6pTyEo5udTfsQm+8dGNYTPQ7W3
1D0+7xWZVvXcSQcWDEtsYv72UZ1DpYvoBbOIcJc79YN69hbu3z+aAblVdkOtfQqwTEV7Xa/O9Ph7
G1bdEY90a4McGYh3dVvlLVvkpnMFbI0iQJvp5zl1v0NI7nt7guql6c3xc4MDwa+H6gV1boGXUCaY
MHVjA4ZJ3lPV3NQe6qOOKv1Av6O9fW4+2+BnQ3RhFut0rP2g6fAAwsy7SgssCpXWodqQOOG5aAOc
anU8xrAjsrh+G9vuf57dRx/VMVNfqV2WAwxt6bz5fHBuqHlI//3sqZ/PUGDZlIxuD7KXh4Y2KH32
o+d+7OMQ9AKurkX8n6fz+YjUE/vtnFv4ZKKxSV5/9tYPVUf17FRvVq+Y4MCRYdMfjQx220fnbVru
gDpuE5d+Fw9uDmyPYanIarqh7DKqK0XC/LH3ec4IjT1AT2s/hWVzbMHBpj0eKC6439YYm6OFnSd0
H177eIM8Bw89Xw12j0qUznioa1F7dH/u/XZOa2qKSsTuFF08Em8xKwcgk2DWp2hpTgCZ0Q+QA8fA
SkftwVClXuk339QjNOSA8vlEcytgTFPHZDmdQ5uAOJddUHXJso0ifYsXICOlnXpbEFnhoTFQnft4
hMulP9bJx5gL94eK5pJQGpJd0iFBCP4qi7bqETtKrlI990oYqOHmDWVSHjTua8AeVW9VGxye+fam
xv4u7VNWILJD+lBDMFpTu5/HredoGwsBe4ZGKdH5R93OfOi0Pb53O/3n8KxEQtWh2lMb9ejVuaCE
8VHU/uFzuMyCpeImyZHzY7cyp6+FH0YIqrXWzpeTDDWT/OjMaZkfPHUJpFDlhanXzLBZtuodk0F8
dFC76iXisB+fVYchJRyUGxzt+1BVUfQ96NJ8H0o90gF1oKPa+9z86VyhaYyin+8Jc3lr/vQVmMvC
jcYOQ31Npj4XhPrJtkWMEMnPj/3ps7+dQwILfTGZS4vlf1Wv6pn7jOLSuFVH5dSt0RKvNkbTvRqj
nI6oStRHwLU/NgNF5ePnuTGRnc3UtZ3emO5+wn481/p8Lxz5LNTHwjlmV31EfVid/O1r1OEvn6Hi
vbUTcV7Ii48agZCeiTCg/O2Pr/t471BN5GARojgZYkj36nW1ceT//Xh1WIC85DQUuD0ME+3I9F8Z
Om5sXVSPZ61TzfiHQi84DBLr7khgfBx5hAVFsV9kHwW/Vx0nNblXpBIZwkvsHZe7UsYGZBrrY62i
hMjhz4RB/tTolr0NZA+Yoy7Aamc8R0m2PEIxyoGpxQFICg2UCYNMcex+btShp0ZedTLxc5wWoiTe
xLKrf2zUsK12q47CDrFmd2N5ercbRf+aW1Wz5X8TvMuNK6NgdWipGSEpHjxX5EgrobFryZFn0MOC
2wZFSV6BOqUuSG3CxMBcLc/2nW+TO2/lxBXJKCGWU6PnVxEJcabAUMYWGhMDSz05B+pJlqJchtFc
5MmiQySjlFlOomqv7aCe9zREOYBCl/sKstaSkCcGYrlRe4aNcFzc9odODr04qTAhy70GoGNjBMuh
l4NzLIf2lJIwM4EcsdXxaGUklRBbtjpbRzZOhlOuHBRy00ZuJwye0CEdF1RICBYXOdx87MFOP0ba
aswFuheJvE6vbkGhy72aC9slS3+R4FoFGPkikPOsunC1QaOiR8kSX81KBhV5ISFiugwoStby+rqO
qHV6fUA+umUZN0baLiIDuMfmN9S3tuyNsxZe13Y57VTDgUpTHO2lYDxVu0FnMiFbwXnth8vZYlPe
1slnzQAw2O3lRF2Y+rwv+uSAt3QBDQjBXrXHM2Je+DypI+S46Rtp4Skv4nOTe4m7X1rEg36et2UL
6sIiXHct1TpquM1u0rQb9W2DDCnU3ucmlC21M9ovfR56W/VFmZq71K4z5dx4K6Hc1gwIJlosxk7B
EPaHSNSIMxGDqw2yQjQ1ZOBEAtFWT3G8JJHCq1opWBx09XMgH41qbZ6fI9+ijm1kB2huneh5uOLZ
HMxTAWSfYEA2PrWJyRGC2SxAlOUztADSnHw1zL+lwBgY4sN09MNxOur4/rDY/3mcw2BEsd7bBE06
HpOkG4+lN1BbM2o4hYSenI3jmD9nFy9FUQ8QR+fhGCIMfFSH/3YugQ7ijy340fPBLMqresjHyx4r
SZS8UAjWSRQNQDNTK9gtKMuD79buBm9JjjHQlF1kOiCB/LLYuwU1x2rJkfXTUc5sdG+5xgR41gv3
YMFRyKoa3YjFQ/utBLYRBIc2tsNVJ5yvpjFH5yM0kKZc9Ou+N8rzLDzAg7og3E4uegCwpwkRQSNx
6RBhtB2NGR9Pw1ojDH/tk8199KhXn6UD+lbt4N6iqSazMB20IoRkwJ9QSQIOiknlcpMGM7o6rdud
qnE4H4QTHEa40lo52jvErFBxdLSL3mX5MbdJfXDcKFxro4AbgKX1mdVml0iIaFvNx2rJmmnRTu30
Z12PyFQIQCYEdgLTbDlP4l4jFTx/GYUvlXfGGamIEQSvNpU709aNs84cr8hs1acmEfVJ7fVp/daK
fEAnp63ORaSC3ByhOA2aT0iec71UxoyQApxKeHvGsQgpimoBbgQ2wNTLLMtJfLIah3YFcQoomy6s
8pBkUXgomuZyGdwrhrPxXvQUNMFjQkN1/QT6qT7uw2zMr3CLXkdmI9MgYbuxIYcgsTHtkM/rz00P
6cOh6ocN+jYSdBaXG6R7LgT8qJ1bI1ISkZuxABaTKryxK+0+80W399x4a3QkUnPRv9hxeRK+OW5J
te77DJKx1bOBGZ1j1YJUcDC8lgZKX7Dr4HlWmzoQ93aRTxeoJyWgsOeHSTejbZ0A2EDN2j5W0eLB
fEMw0JoaFOYMAJJk1udE/+60JHGL4bUKA9TYF50Mv39YpnhZC6e/KFrA4L4YTdBFOpngLLmtHaPZ
C/x4d0ErcMih+nXTAjBsxgJNLr0wN/nc1jtIJhaYPMxxu9BcZWggDSTB1/D87b2tQVfVzH7j2mDj
Sn0WuxT7dvAwIV4mhP47MefjWYWC7TqfQmSR4tchO3SoFQlC2PNFS950A+5xT9i31o3CRY0U1oCb
lxdCaEBOa364soW2ymYjupw0wD2oaNoko7H36XqKGbFXv3W2jDdFBN6dBSY02HLTpy2TvQm+curQ
YzERD4sFzMKwMPaB7fsbsAHmJoiNrQCGtgGeNa6L1rui8HzyNSc9r73uoGdVfpam9fdqkrbchug+
RAD+f/Xu/j/5kdqW+Lvq3cVz2z6/kE97I/n0a/mOEpj85I/yneP/hdmnB0LewkfUkZ6XP6p3rvjL
Bv2ARIorTMvkHZ/VO/MvD+tR13Mox+CHKXjphympZfxlCs/3dddTdqWYnP4fVO9wWP21dMcqE764
j4SIYVNj/DfbSl/MCO2T7jzozXhZWjoTGR5kUSV2mleSp/IQgf7lJv2hXvinX6RYaAnEJgTE5d8k
cbLCKqxlAl43bllgA9/xqgfTOSf9hN1XEPX/QVTldwELeYGy0Cl0CqTUUaVv5y+1yRA7RLhQaUXe
jXxUiQyWOz9WS/rs1Mvj31/ZH34KjR/T0rEa4upMKq6//hSGnwY4qKU6SKxwmqXvUnEmFlvJNvj7
X/rdbJSL4pdszzJc2sC/PbXOiZY2ksF3oI3+1vco9uNpTfVniv/T/TNoub+3EI+6LigX38Y515BX
/esNrDBhKCOuSqQNYpqCyb1uNpXnnJD1ktOtPgCQPGNliATvXO9gNV2KsMaDsbj4+6v+XR5HXrVj
EnvxNA2q3r/dX3fIPa3zxwqFTtaVaXDh9FLoeHo0tPkRya3b1nLfAqwB/v5n1RX+Ut6WfcRzhONA
GDFR5ZFF9l/vgGbYpXCNkiakpTCDujMSM+gUjbd1N93CLYXQHJ4nxfKYePiql1r83FgNPCFMtGKr
gUPgOfeJk97/3/wtS+Bp7LqWg8bkv/4tpyl7M0MRmHhZFg0zm+CIX+vECIXL615BYhHOcyIBwkbl
dt2V2c2cUtYgZLjzqJTPoNxGJwSb8BPD8IcO/sfHhJAPwxPIHoaXf/1fS5/gvIT600HrqVtVg4mG
LDHKPAPqGi16BBRJ1+y+VmZZ/4exxfhdQkg9ql9+W77+S2P1PN8aNLSzDuDyrkYd7nAPw2UVUvQw
m+lx0kHf6Ml0GB3nexw/FE3Q/YfW8qdBALvon1f/21MZ0zxihc8/WCLwfigWPzpT8qzsb1n/vv/9
rTZ149/vtu/RQmmX+H2YphLw+eWKyyC3vRzp60OpVwR9iAjAxRp1yVPVQVZbWGAgXDtkcARxGlzN
EU6+mTfe2o04dP4AZ1mfTx6fmbP55Ae0HaH51Cv9XdXqj1UYoxU4XOIifGuJ/rZMMHUtv0hQlB8n
zxQrBEo90+OS7XzUW6tw3zt5jj4/3yPf35NTWw0UzsdyX87ibp5RwpXlltY7R5rgVDs00BRTopWN
3t5K9JfF0tQr2A60FRv8NlVf2aGmYby1LOdsMKl9G9EBNXWiW6CXPNHiQnF3NAtWWD0/j+10Hde4
gYTiGJTTWenzHwsd8Za0uO7caYTphMhEnlNKArJ/ltfhYQ7Erk2Wx67WD1b7mvbJc+bqp1TgDjv4
OxYzaImMA+vC5F0CPCX2VbYn06cJY4MhyC7fCLt98eRQLO+MTvqBwL3dVSMI8Ml80Vwcp1hjvztR
TI7XvWjbNliNXJcxOQcY5fdZ16Oagigk91MNHp0zncARANJtKm09zfmzwW9aDTfIZMQbfQib1Ddv
jRjknN4/jxoX5y39xkw6IPxdJOuUKUVRvyMwhNiZuzyWktTZnFMGDRjA5O0PbBB7abo1S+3exkoY
Zab8HW+3HaX0d5B4FyZ6DAhc5JjQRTrr8uoFr/AVtT3+2cjQg6vM4xAPl4n/NnkVOm7e+BiNzBMm
wJvOZ1ys/GMdGVcQeMdVYPFPAm+5mQQagkzCvjfc+sgA5zmCH+nA5/3W396k0rsQq9Zn3+YWFEEN
iZUy/3Sy9OxZ/kSxgHNDYQaQa7+TvxfP9bcWEravZc8IQp5seacIfi6nCgONVH/EkQ3AkPaelrhf
JPnz4MLtFtNjXSMNAbDdK8MbUZr4UjbGbQLqBgI0bSq0O8pn/Q3rBr5ctLDpseyAHhTkADzPhwLD
It+LTpaTUQUlvFj4R+uCVUtdxdq6rRMpE4yuyVxfOeHw5sX8HBU/UEmOP+/r9LJ8y42tcW27GJt0
hXOkX52rf++iq7OajOFWzrtJ3Zar+NmkEr7U9fOIBMw4W+d+B41igoS3tsD6YeX6KJvyKCdnoTuX
SM00+Onkh8Tg2cTMdXuMC4GyDI+iSapd25TUnZP5wYiL5hyZFgTas6hng3YotM6gqXa1Hky0D2Gi
zpBcqeZY2+F7IjsuKYaalGX2JMzwxu0KvMNdfloNJdLKbnRQRsnoKyVLXtSn2/FRkLpl4S3F9wIM
IzXU0sIygEHjR88svHiiaUnn9NP9PN+1CzGhGrYGOdVHkos40YSq0FpPU+agfDA/Ip9abtZlqL/A
SxrwMNCXCaiG29+u+xTL6BKUUIYwMEzREMH+9MFt0mettg513H2zkRyY6QMDzcUI4aZrSAfpCPg4
PVOWPxICTx6racg4Yq/e4Pd7Ej90Mnd4BJdJeVrjb2EjxC0X/JTBrwTMQ5tGE5f482prb8ZTALg3
VXMAUY1rITvcTCe9ibUNotwXOrKaK5+S4n7UD7Y/bCeQBZtCxNNuzBi3NbIZO7uZ0E7ry808mY9I
WdC7nLLii+qV01ENxfqhW39oahiYaFSd4W/By2/KOsg2wcVih/Y5qQvYaDBntkDnvdIaj5XZwvSO
xqMQ9ZnbMYq2lZwmS+QyNfQYdo6u3dO30NdzpJcTmFSzay/gx2P7FxXkWCrrDhw/gjVT5W+zKnnA
SAaF1MLKt37GjcsMfZto9KsMC2QktOdHJZuhGqQKXpw+eZfTAdXLd7ThDprOrWGI6zqsx+ZOfyXR
epdExXrQjZsx8E8zhCroLyUW2h7O9OoRzR1uA/l+yjGiko2fBTt+nkchEexaTIMqkuLZMNKZNBoZ
+RbWxVyji2vTrKNpKLfYIbz1ILe3dukgLefPZyOqN4Yvil0M4Jv1PYjoqQ9gQ4XNQ91zR8I23nlw
ojtfczdNbXx3+tbeBEuKeoGfdiD84SU5Cap4iLQIKBcahXFc6OYJ8qFtavCSkYSNyT6sq8mJVo0I
jy6wvhW6T4wwAXA85LfwXF7KTUX9xZyXQ7Igva7r7bypDa8jQ+mfxUUhSHAihJW70ZqObEJzKy+K
yoFLNhC2e/MbyQKMTRm3ZuZMAOpvjg60Pq+5SUNKgjoT0br3JoAvNj82MJjX5MFWXjxs0RuEliqf
XZnRh4YFfVfrEXXWq2miuXR5gymTbz7juIq0lh5ryAfVaHLBl4syHrvrGs988NK0INqSdUMtChqC
ioksc3rxE5tFko+W4Qx20k+Rpqgy2OylHYWQIllfRKPYWHmnrXsZywY9qZT+bdLRhxu9dYlM3yqx
ytuicx6LiS4QBf3dUkC3lmO57Vwuuh2vbSRg1+EontyiI7cjhyC7R2U7MfJtVEFZdk2oYNVL1dqP
cEvesoluC0LnwR1dfbMUCfbnC4ZvZUx1OhvZ46lkG3xBzmuWBzuryo8sNDuScSHmEFBVSELiiWja
GzLl9x1wRfynu37jUD3dWsyLm2V2yoPk57mmQQ8nMOjpy8gkAhHtizhaFXdm5w13VFkZ26HXmIv3
QrbqxnC98XsSeusodY4h1K5vuL3r7q7ttPE+Ka3zYRDVgcV3vEnG+MlrB/2U+8l4rnn2KY2zYC/K
5GTWw74mjXcR1hP23BRg150ZWhRlo3ktBa7h/4IiRzB5XwBoiY1HH64/OTMokVP2EDOVoicPnRlx
grlumAR1UKz1Um9p0OCVpiLet7lXQprX9I0T1/NmNudtmTpnTSQu9Na8K0YH445vak1u0ewRz9h2
vSsNq0Cv5ROK9FT7YkhzjW1eQ+wuNkZZXqUO8mW25h0qHKtJqFMMzKJ8G8/eoxHP5Rn2T5s67ZZ1
mPfXugF7znbrVW624cnK61Nt9fWudwyKzt08bOEgYx5Rd6/a6Fz2Bar9k9ntYrwg9lOVn4Be13SK
9NbHs9vOHz3EmyAn0z/ReSZ61Vv84CBko4LgbPMAQVosi95t9wVUJMFmPxo7BGpwhC+vGmFgUWMV
61hryrWRbHSPeGuYrCdLoxI0h4zkWpgSaIUsTGpQgqveof/PvnUY8hTNlzLau4If9DEzQSHWli4d
TAGD2SMeGXtIwLi0y3lr+w26obOPRhl1VtQ7+k3YpDoGOiWIfwcpOPx57EMEFX105/o8QmwF88Ke
GWna9XM77D2/uYIdm0LcquZN0Vkbo0td8GGzTRw7fG1jetqyjAPOQuBXhJdtCi9Gv9REM8+r9I3r
Rs1BOkBIrlzdjhV4ZDTsxx7bTVLk6D4hB9BFwbxxKh29Ms1YIf7qbw0t+A4qluYkWe6W/HWn6/bA
32L0JeAhNzgv+kO2VzNdIUoWmWg+Y6kHmHsKrbOlQVMvJE/AcObvg6L4b/bOYzlyZEvTrzLWe7QB
DsABX8wmtGKQDCaZydzAmApaazx9fx5VY7fEtbo2+15kGEWSRETA3c/5zy9uonbEfmG+GPuhfegV
fj+cCnvk0iSpiehBIa5He/yaBXW+m4f2W1YbwW4O8cDJRUr0Tae2dvaFwGD8pMWwS62WoqiLw72D
Ta7fyU+QKuId3ZvcBfHwIOf2VRFytJ5Jdl9FsTY2J5DKFNQGS+8f/CmkQCwo063eZpTOTYCPB8W7
JYb90Cui80ax8pX1hhEmIR4zZbpBmezGOjS9yj70gfkbugQDNyzXaUz9kyDnWLHWGWw7nwdX4H+D
V4DURQEs7AGlrHEujZrzXVBnSZPOjLxp8mnYBONI7e9laxrZ27Caddjd56zDUS2gm0mGrto1OAJM
Cka/6WFebk1cqc0bNBqwzuW0vr8mUBo/lUX5xJ70ufTD673U7RLaTIJIplUbJ2+ClFhGjN3NIg9F
/OxmnjdeHh+q2utKGVu/tyLDsl4gYZWFOexjs4H3bry77B1sgsFqwhN8u9hY+/JPCZ502qDtapAs
DljVEJ0SPBpZBDut4EvVCAyf1/1OUNo1BYWGzjy3EAgd8Lzym+YS+VuHxnRXxQ2OcBDKBqfn91Nd
IGdk2yCXPYh0thRGm4ZVo8XmbUx0swXVmzpDvwqRj6tbH3uvQZt8W0oTk/zGwHg0/RAOr/+4MNHL
6dMIwUpONe9Yl2QJyrkx24uCFxduuzdM18VzX2DmXQnS+QXTi22p2w5+fS0DvcTc5c3lnIY8X2OY
UrW4x9cvpHbm2xH7+cokj5GRaLazfAKu4Guc7QG/Kc/Jd3A5yeWLURs7mGnRX3ru3T7yjoZCdyQA
UL+yZK4SVXUvqbriGYscqIg0XzgYkMbWBmu1cKDqtlR26qvo4E7EvKcI8+93aNi3cH/UcoYMsfGr
gNwovI/ul937kuGLFa4Hi24Be9aDsM1HOdrlRvra3kW7paFYeYkzpRPAMbDJh5udqxGhBcxpe7zZ
43yOG4rj3uOFp7KnQSMuDxmhUgS19cMtral78iw8hcxmZEmAuUvQJRZ9b/f3oNcqTDQjZMbra9D7
alHq3kL3x2Y0f3YQnfd5X66qJsaYI1DWyrPRv9+7ZDtDte4ZV9Ol1JImYDVMlg8Sybm59EWIttwo
3doWMn/QxRSvEy5HulmtkuXcu69egnugUc5M5MVF1qyJ1p2fcS+6eN58ztLuUQBDzNZyQnBHsFPB
/9C/WuMfbjiQw/PqkDwOZZUwZu6Rwo6eFJCeLeSh7P2v8GJhLlvTxSLfBbFi/GHrFn0MKcmCz3f4
7X7xlj5zKof7VeQAFQmHFKFEvzpZbMaSnzTSHJxX9UeQZ93vQoFsueHTWF4DzPCQeWCSaT1PViyB
YKYHHPoYrLuPxoBtUA4xmw2jRwLHyDY12W28Cceq2G64SXl5jJpGx8/aC4UGRTC9HkPDlV2/3NHk
OmSna9yvhi8BzwTtZerMZ30uY52z6oh6aQbWtG7qh5KSvbeYVuB5fnGQkXfEcq67gASrGpIBJYaC
h728cQfzE8hg0ZbuLZNkBr1qF42OIRf8QTSSiwiINsJn7Fv9ttB2/nQiAv1rOtGA6I2W3Jh4+NHU
A5EY/U6/q9HSH2TpfkxZ9JFY37FeI6Ndprg4FWwzxuOM74upynmzxDxtDUEMLasnnKab631K++g7
2axLAarSSBFyqh+Dni0DVxL25eB5WqYv+mlKQ2PKbIpVJ6+uD5jpkXR9By77VtBNEqRXJK+C1VFL
gIoRc8stSXrR5j4bsDtkm0GHuj0IbAT01vJWG3jLVtmtJmd9GSeihFj+8MVo7qPiiLWwwagdsxML
I4iG+LDEBPRCbzLLBJJGRt+hAR83xBPBAdWQI1cdtcaRUc/eokj09K19fyC5A3BqFWtDhdqM25U5
RweZyeukBaZtzYCJgcVWjtOTJ7N5ewcWok+Zi8l5IAgyrkduvDCmAe9U3qJ+JB8RgxYBYUtXAlAT
LCozcPYU1CMnh+OOeNiK/MKmvw6Z2A1gJ9LVvTV3pZ6wYoWyZ+JOt36HzwidV3ZKYlfwMCJSn1t2
dcWLkwieJk9xasZvgIfbuhm3GUSdVW9R+OVWDlvIerivh45pfyMbOnuSsrf4HW1kLn+4S0cvVM/8
5bTbhdMmdP3PthQHv1u4xe/LDxWvHWA2fm+1A1Tsk52dLDDGoaRnmyesa4kfCXR7z3k/1OEvCb9g
5WbLth9pi6SfHpuxv2UjcVWVIIYT8H81W064xllmVemK2gWFvXdaoYbK0BhBt4R313W5v/H1+cjA
ZXXHSHODUzcGdCtcEhxpj5KI3UCGVG8FntwDU3u4cbwhbsYtWS+CjRTkLkcDG8XVgfbUwCd3LEEG
o32NhQjiadKQ6jl+aWVNPshxtHGra9LMINUS5xe7fI5IHyLADaPkAK1Rwu+u2V6H5LUL8VaEcCpX
mZv9KJrBut57z2KRGEL60SZreYk6L39tuvkyJgjc5qA31lmXW6SvQl60ciqGa2g7V2fKf91RGsPg
STdZvKkr9DbS9H2c+M21G3G04Rv222FHqZhuSQUm75XWWLnE+yQJ5Sl+kl6EVlhpSA5JCDdN4v/0
U1reBrOGVRXBC9GAGAImTE1tXrtU4bCQUSPjWvhUJrm301vJPfuoUsyQIqv47EzyVz8RoQdrB6jb
2+CU+iupnvKZIyRZQJSW8ku7dI+VQesdlPCx58xlQ+V4IySVJBg8ue89M1HVQM76bEslZXTnyZ81
OZ/o7SmONDQlXBZmYad4ZZaPoAwrhtX5Srb9pgkVEhAKEuHiOeD0+YfOWvDnHdm+/cN9LbeGoEet
lsd7NXd/opRe86ZyHfZmmjyQ2VzpN92GDy0dYz+EIn4O8Rlq/eqbYsC4z+oHazbfA5dyu2IIEIT4
4Mewp+zIDoAcUIFhUrCWDtX1WB/LIsTKnbt+Sm818jFK4IxVWRf7tpjfcamkuPPi66KeRw8SBbrT
7mxn9KGdFKgKHlrOUrbSBjuHIocSnSDuno6mX9EUNPOPwPY+G05R7WjP94gK2dzU3GOBkn+pakRR
FT5UpAxq74FZ2xnlBcYE9Xc0jBKW3iMZa0cc8N6X0PdIW6TXDboWL5CwOhapR1SkTIYN8UPnUcTi
YTKH/mU281etCzNydzqk2vzEULvFnW6VioytB3y3jk2jQvFe4bxQGs1bi5HZ5J7KgLCOcrHxP7az
hDQsVE5gD/0k+p051Fd4/ePKyIZqlwrSUCTWxDjA9C7hJlm7yyzKhqSfHltiRS4QP/GdwsOHvG9A
pSAYDmEyfmp6Wx7zGG9Aym3aow9E6s4m8F9d3BndHI+GtkImWiqNkYbJYal8nB/N9DMuGVgu9xg/
WUQhYPlQPBWjH0IXcs2brPtud3eQzjXBMdUP5ErVeEUg1BSTd7o/BBYf9e9wg6wT94L8/cEtvVOX
zJT/JnyXU4hT2W6Yq2e4xfJ0f5Akep1cVs4YhiUyY0iWblY8kiwUbufBuKsNNpFFmnUTgRfLiJ3m
LowZ8WvAsFSJjSyxJG6z7HtrGuLU5+Z7UTFQwJzK2ubkEazuRPf7Q5wG76qZ1VbYtXua/OiPD/ev
JRgXb6M6/RaXxWrOyvnIq+mcunx0TveP/vIplDJ7H8JujUuyMRynn7ZSEUtnFIl5+tdDNULptVSV
bIc6AMKpp7hF+48ZNVJrZB39gbAcInVhLtf5ymMXsONLGtovuHESN6z63WRP09aM4svdi/7+0Eep
fWpava4A/Lf/+kYS8IeyFETDMmzrdH8A7he/fdTrMAzEL3zHGzU2aQqH1RrXTzBKGe5V5q1NLfOG
gBUnhwJoMArkMcLs6ZKK+NWWTX1xOnIDRyPOD0Zmhlqsg4Q6hH9lVi+mbC58e7pKi5B0O82So8oI
CPDjIl5LH5dbv2jsZ9cyxHMcmdVWJkR6KIVxSWe57c6hItDmZgq/7N7vuKH0pwDtNRan4fr+2TS6
1haE3yDinkTvvudywnGuboudV7fZcTygcXCK+9c82rBO9fLJMR6n1Cyf8RoEFMMCAtcSxyyzx3gz
0RrqNJloAN1fnBQqpPb8b3tDAn/rD90i+mFNIT4l2sK/AJs73T8a9Lvwh6+Zst0NofMFThvKpjHo
ETZ774bpdbtJkxPxiQ/POaEFWECcBv1w/2gaoheAM7TWFSe415rTKZTZr4RB+zZlbHi6f+n+YKbq
90+rhrg4L6uyLZtediT8Dd+1mQUV4SVuPacDdzn6VFSZmXOdn1UXDEybePDn+TvHkbOScMlfSMwr
x+bFxdgjaMr54JPPLPQq9vTq7GZl7hHNXuq8Dbn9sPAyim4H4o5jr8VXBJw91pO57aar1zepTnND
HNdgjB6z1WyiWtenDSp2ixAgvcRxL0PE2FUODqkQN52YsK+kPw2p9CHxChStmd5oyqDcx2mv9rZT
JxZCqiBCf4vRnklPuc8mcY38ZMsoURyCbld5qb8L7JaAOIu8Ejko3O35VdJ0cV3L/cc+6SLSy6xl
jWi2BAU34AjL4ntNzudp3ju9ySU4TX8q9cWEgggLSkI+NH002a0fJlugiGldBDE2sIvpnO4f3R8C
p/n909itxC5XPidnf5y9CndKTRuOJCrieUQXfP/o/jU3fCVzfTmCHiud6Qw8HsULrr4YCK8E8uot
VlXwhq32KzZxZzf2OKJnVPhR/CWL6hYrn2YTVc18sMLuVaQe7/y0iubZxPrWzgAexvASxP5J9MgT
ZRdUl0q5gHQSZSctT5EleH5W5rfAd/aJd24T8xCV01dVV2+L231OJypGa7Zx7QTINKhDTrOghA9n
+9VNRuZzcZOwk0SPZgGGge04uIfz1RQNOMHQ/qgpyrsm6/dIn6rtL5t40Ngi5GgcffcYzUJuLQ8a
GQ54vvSqTZminVBe+yVx82+t9L/RmJAphrml24ffpjr4mJ0G0672VoQu2/riMg+ZdqERHfUTMMW4
z9aVz5KYIpI8U2q9ZKa47X1MBWBefOoIigNkWVdDCDUZESE5SFFAYjWWGVcovbu0kV/jzH5vFn5J
gzbHnzjmxp5AugioEfHQ57DCnMGN/E9Chd9w6vtmQ/Zs6+c4lZi3hFRwEPfxrSIHF6/Ty2Kfllow
jBPMeyWqK7j/NLNzJy55GX9hF3pIUf6R/sZ4Crecvej7J1FXWG5P/XxYsm6VN4aztYcAW+yYA27B
HIxZ3LBqnsmfG7dUs81lkSDgjKJ+JWKYfkN5HAPlQklaKU8j0o1AlnwaPJTuDjNlZ8LkinldoDqx
TspDHjTPljlgikv7dEf0EhX+0lAQkRk0VCYIi58X604EJLLr4AV3fGuUWaxcU3tBAUN0AQ2kvXZp
dIRB3+IksMBbr3nCc3Bry/QjVuaLTbEIdkjP7OcY8npoqqH8QjjQEBJUgh5YKIuzD1H7xurg1Or0
z3wbR1PM/kQFUyZdAbQmxVRQ27T8mV/ULkvo9C3wlU4WK2Z6FTRD0dYiSnliRuJV+TcqvYA2JuM4
y8EnNNSkGKj1aHxUlJAaRNUNQEEaZa47g/tLCZUcQeAms8djKGhnKXk0LNxep0QyZXZpLvuAfhsL
p3GYf0mbm6BPqAlN7xCXLn5OoD1lIq1dW7/jDf4xuYkBTV5DB9mOOOGZkj/BqcC44Gy1/ecXxfqL
/Yvj6xcFDqnlOa7mP/6VlxcStOIDiRya3HrroRM1KS2rvqR48h8s77yMh1A1mwl++Oaf/7b4N38b
1xHBH7UgQKm/5pO1zuDmQP3ZodIT7zyg/+IPWdGbC8xgCPdaivkmYYvMk/Xme+KoiFTWXRhj0Vug
QjLYMXKijmCk3JFQgRrdAfL556uUfyOFKdMyPVf5vqlsm6Hhn2+boiGB2pEpt43PVUYdDSImGOOK
bZhmEp88CC4WIeYSe0zsqj80Zawe01+azBHHvIs5WZAwMvxdSUcM1+DD1r2cn8H+9MriA3vSD2JZ
fnFP7BxBURYmEXFeMcXt052CGJq6b9dwYFc71/pLMuM1MSHY/42nQZvwi0Gw3HgZibYDjbxIs2qf
cODiDXEm45o/Zkdi3Q6M4qYme5gS5zDOGEXn7nCb8+gnGRSP70pmN92wgfN8yGa8ZU2rfdQ+Cw0y
xrI+ugX1LYFfC6PHxp5fsik6/PNrbdl/I8fyYruWwKsMxbb8G2G1muLSwCggxWE7xbbQdLZwVOl+
Nd+k0TuZ02pWVF4dwWiGFWFGyK9wlb1ag7OTk1lyHIAoI5OgMs6qlmSkeDy0g7HP9Mk9j+A5S555
OImG4CeNGm5OwAC4QieztCrfDebyK18wJnFhpexkPeNFrt+TCMTCDqN1Hn2ErQERzgKvxlfvQw8U
ixiQLBnZ+xt6FBOOysrOqboEgKidiEPlgb4BM5QNcJvkCN0m3dMYMZhKrRGPlTL74i10xMy0P3KB
MTsWhutqZudpAo+0Ao+qUH8/yni4z1t742eWjNUOzMGwOux0i+479nx6ypDngkoB+zrM0COz+OgF
48jcNvekozPyIsquCAdzndieHo3E5FUV5iuFHngViI8DNJeK5mIAcsFh4Fm7qrvdsfbKKK941Ryj
yvhZCp0+QvzIpgzcd2ug3Asc5JdJSoNlwitrw3bdMO5dFe24N3KBr1JSVzvGJQmhKtWx+hB2Mp9G
aFPrNHPfXL7JhOAUluM3Z4xIsC92gdM/2JV3rDRJAFkGt4CSB1LzvoY561xfan0My+inMU63Pi2H
x1lmRIjoQKqhn97swIWsgWNeOnb4IJTt63+4Xf/NiYJ5lkRZKqWrXK0B+CNjNezhmDhGmx5s/ZT1
aeDxNWo49cPozoWHx1KEngxGTkzalR7e6YFZqZl0juYw1F32H/i7f2d8K1txSLisI6JIhfjLJXWz
HGUVW/Ehc8P3Kk+eKJ+PGvrGvQcu4nwMNOOsHIc3Tb3CFfkjMOvPtu/+h9fm32zutoJvLZBIOFAi
/0o97+Oe8OuijA8dJo0wb1hVOPMmbbWG2YJgRonvDa3asLjfZcP8JYRy3mp8Q2r+GHyKdYvckfwZ
/5PZx5+EE81bkLCAfODpPzBx1d9o8sox2XNgyCvLsp2/8nApsB3G4GN0mNIk2JCjQXJgvDGHNsG5
T+hhNm39khGi4fK2kT92jkQw4hTgIM3lBwGoL3Maj1uUYDnCPZK2hEajYoTF+L/FG3BWe2W2EPPK
Xr1hrwvhwUSVeuIVMjBFUe1xTKfXfE5KPOHvtk8EdAWps1GGq94UvZAwb6J5MdKs2d4x8dCIOX2a
BZcHG+VYr7bDCLCWfa7cLj1kddFjPhRjslVi4g6z8lXmYidzdZXRvDyoYVnFM3MLwyYp2qnkKWlY
NjbqSDwhLYL3lPG5qdqMSI0BcFWZX+YMsq5hHzTmeKeKFmBqvjI+RQxwTc6ISERPg2RDXorihbBe
dk07nze5bRyV6T4RZfnLLc1+L+0DzgfNgaRwAO1ySna1bKK1XGqUsFV1y2YS0GTKbpXP3XRo4vhn
NyKPuy/e/5VG/SdplAWR4Q/73Oaj+/g/PzkGiZr7yH/+3/96iL+z638Uf1JF/fZDv6uifDwILaE8
y1EYGwrTppL+XRalzP/Gt9DSrhAuzbUjobz/P1ND/78tqk1BOLItTaAaruJfsiipXNP2tCiG7ctz
/39kUZb+I3+s9OHv0244Ni7WvomP4j3Z+w+8+prgjA7w1DobgfXSNXX5ECwDSKzt4nyhvk3W1JyI
I40omTpzWwodCY2G8qwWJhX6M2Sz/inP1POcNc5zHuVf6nIZz/fPXPJyoBJE+Y7c8e8Omfbktj6X
huFcIsCt9WJVGSmLQXwSo9z2jIPPYSrdFSMzCEKauT67uXWw66K+TdPwXmWpJEVpuLVNGz4KuofX
IGHMZExmi42IDwseLSmv9RMMselWeBJWpwwYsSizgXXY58G5QxaBiL19dASTxsDcA8yEzxY2f0g3
ClxN3RYS4DJS2eELk7Okd3Y0mJyOVvGCVXrEAMYnUUvH58DqYe7l2c7zwsaLm7R8GgJhvOSJS+Xa
ms8TQMk5dg0uuv4uy3B88XJn3C8klG+SnEFILeavoWnCGerZo7zExU0tlw3VLZGVAj1+BsSzRVQ6
vORhdYDfoC5+T+BkFqX5MRjwmOftY85l05v789BtrKDFsd9KogtwzCOS9XVTdPPR6ozhWoIDVE5Y
/JytnuigsVUv/kLMoiDueMDPGve6xHwsRSA394yWeIAvH8btcJGdfJFEp+yFg8S3wmTssSgRYpFy
epm6mQ0q9i9IEk5FZIPpu6DzJf/9SljiYITNE4N3EhoNVBYJ0VyC8O81z44hRSifJM5j58gNn/3R
TB9ybyD8jyQYd8RaW4ruCo172hqI7DfG6LrPUG33g5skD1FnfM3mBfOxTtXnYPaZ+9VvYd6VZ2vA
Ph/Q9DbWasTYBvM57A7980TABKQ++qPBD9sDlqJbbaO7JnndemrVNK4hcsElK/BTmm3ubbwC/7BB
/BvV0F+rDkGHiDyPLYG5g+tSePy5EPLbHqJzgwnOKKkqyRqWHNzDxe4Ixsap6aE1++iIuclLF4XW
kTjFdwwE2k3kJPAXQqgd/3w9whL6L/6h2eeKHNPSTS3SSKnYCf58RQZQTmX0ZXjGK2Y8Zmme7FxG
NuusGikVczyXgDJYk2269nv5NbdM4zmo3HMzWKta2c1nQo3kOqitbYcC+6nOFNBhHoRfR2e8SFp4
vIzHd4/3jSCuJPykvgOvzRuHQJ/z0DOIs1AArhwrlfsi8YNt0rqrnlnpeuj4ibKMHpilb+qSzJKu
5wdDWQ2bUMEyIWltJDfL7VeOR+PYuf3y6M3Jw9Dnh2qevWM9QFMsqkcrcyQpq3AjTKvDOL8Jp6tj
Hjs7yL8Z1FUbMzC8vTQIb3SW5FPYdxdEzt7ZCzx/7ZsD4HJqIcO35ENqWOEDdW66FtqDv6+i7iFv
YLDOxteRRvvmN/bWxacYRzHnUuL9IYXhPC1NsI8CK1qDCPo7pYYN3nnik7kmUwpFAz7NRyscb1Ml
kgPdTkRri9uVE01Hy/BwjRt/5QGidjDYV6uRLO6YJLLaNoZNq6LrrIU/vWeWZ2ZWF4I54PHl73ne
hdt4LNytk6luw8j4425KWTJd3qd9/9mTIKO4PiP3G+tNlavsSF5auPIqJghRF22MvF2285KfnRYt
kY/pyKFJ7eG58PotFeiRSyoPpKg0WwbEzI9bHD/rcbpMC5mFpABC1Onr/pB41kpYww9Cwcp1nMC8
wHlvbVmhsxU5VkKm4V0iNynPlJYH32tbBDI+lgouwYB6Usvc4p2KFPdFCRadhVLuHSbAm65bjLVr
ED9YMUaE1MYaaVzjsJiwftpg/kwKOoqXOdl1g4N+kdathBWrcgYZItBOC6jo4fJ3DO5pMxznzFzg
E8/pcfGCFwdsfJs48BzJortmCxKOjKC76z2KS7uf40lsUrN3II3KiXcigPZpibcBPT4CjAEZPa6/
Ow9zVckEYi1K1Z0j0zyUvq0u2NhCC0jSXTJCzPCz3COxQiEXc+PHxlLGqvNfawYSx0zNCaVx8OEq
7PNDFa6byor2dMPaOe3F6GmxMxxDHhxtIp6r9EYsZCQhShaqVHs1DRUCi8bC494fsN+vt2WFM35n
TTefwBjP4AQIWiLdZpD7wpmKo+EwuJ4q98WeLOcR8WRlLfaxtVF31aJaTwvPM42DT7QHb/i746Rp
F3vg1xh7hLK8zMhmyScmc2B6yhzoLXNaXCt4gptAmGobFPGbsAD+BlmxHJAPbpKEOCcvAq5oZ4RR
FVKcUos6ojbHYneIsbwQ1AI+FXfnk6iTFyQfEuW6qafGfSFivTnA9kF5lD1Tk7TbAkPpDXEJDEdn
zB38tnwNh/mbU/XNwbHDpwRMdtVB1dlr6s7ExG1fO9lXUPmBe42dp16ar5FJVCtmMRqqbt6GQr1i
2MlYFbORPSAotsT6dSgb92xCkiSgB0/dbBF7N/jk9V+AS5K1az11pqEogSbICH2IdYQNXYYkg20C
RQZyS3wpI8RZUWa4e+KcvhN26Fzt7/kiSmqGfNNjXO641q8xzrkX4W+4bfQjhi+yVXoxFkHwFMnm
YBVJvLIHnekWR7g3sMdVKYlIDYGgoMv2pZqG7jx39LoTdP/ccrE7Gpuv5TgmByNfS2ya943Zfa3y
st40vqP9AAt/RZj7Pp3BWNVMrE6iV65wZsYbctlWIxq0YCyYmt9cSAa73myJTJjcazcWeK/qFZnb
Mdk9UXn1vOZUtRRUDVj3YYC1RE5v9Tw0wTp0luZSzdhJ1MRfwywPJVzE7idJP+017/ud5fXGISAA
Nmgs/wmynnry/RmGYDhi4zESVTHY/WXuNzXXRqqL7hVrJhTzUJIgZqc3ORtnp5rbc4bbUFnG0bFT
1bz2YI/pLC5ImFJ9CjJb4mqd72BAehcACLgxggRhA7/dsMDyaIYdg0iLuUxkMCDzk2Puo74rUhxc
5t77NY6sv4i41Y3jx+Z5KOyfRLAkhxRmxdaxSNKRKvR27sj/oCoJcLx3MeUNfVIs+/BHiuX2c52C
lwdl+Y4tY3Jq7P659FLgETaTa5O54hyT2Qc9pbMudA/HjGTbY2fCcW0ByMi+A+WCQ1gWV9QpybFl
8GDn2anNRLAdnbk846gN9mdnH8bSk04oEb70ixc+eaF6mOFkHM1Mthc9zAFg7jiMHotomjdky5Hc
ayIEqnvHXS2wS9cFhq3b0qquoxnVD7g8OKSMjR99R0YWlPF2O3Sd2BIKCZ3V7y6SPW3nD2OCXiol
53Qgw6yFSbLJ/YgDwsHvH3kJz81gMTpG7R69piGfLwEXLMgduBjJ+GyUsYfPFJ+NqdGuCRiK9xw1
TMQ5Yl8yEeHZvJiH2kUJURQZAYUhZikNSWrmwF5uhdMxAeN7BnBzTXNv+37wOa+gps8DhPhuMh9N
ExLekkCGWlwfcSwz4wG5wJbAXSLDWqQWRei8zs3XipnQttQbbKy32j4kfFEurrlWLKWj1c9fbFzr
8K4JBiQz1m5sBcTDpE03cEU44hu0J1F06zr/Z5pxbqfCsD618EJ6RdWUUdJStzQ/rIQUYd+zrvgR
fuJykkORxj8nQs7ADzB2xzRz1U8S+72wfm0rHMtip9NYdNDtxxp69KDf9hhuzhUO5Fs69tWGrcgE
gIEfrq5dbRy1XtOx01/4S1eHKJr3Jvcq6CeTsyiCzZlyGCzWd+bs8PX9eg9AvjVYZCzCDRc6wUDh
xZ0TpGpeYdw4umAYW3A3zSeTbffgLGAj+YTwo4ky7+iq/N3L6uZcx/J5ieriVjV3l/He2ZZ5X1N3
VnRharrhI9tuLdCWq50xMUgNiVggbHbMFO1XxERbRbhMjCf0EwoaKEwyiXeRJpjcH/rC/FEmCf8d
T/Sz14TzOeo2YTrkZ9zgSWPiN6zFwjSvqzGjmpxA8xoGdZjQJe27Fsimk255+a2BbGJvucGOimMX
1VPPuVzFCxZZCzrkmGpww2y3BWSyHU2inw7REiA38EV4GILuMWtgBFZj120AvEk/wV9qnc+yOwCw
/wwCqdZkX4/8V1hTMoycI+YBDCAIPVdxX73f78ocscHTMEaX1HQfVVVXT1Gt6aWTW+0E7u8RHdI6
6ZpyR2aogA1D5V05c8XEv/4s6O50ziqz3tbFWjMurfVQSOeDK+PyOnJuQmp6YsWxckyGGd5oNke7
xQa601s/OWYIDno9wBEpWvNR0oZWm2gaA84tuzyXhb1svKLq9kFU6jt9OSgj/4ZHWXuF79h7kh3M
P85mWm/tlNKcEcvNNrCO9o3sHBrq+9QLE+fR+CfkzG+0uA5D1do7ENhhIeDAa6liUjqRLbAZEWLs
VGSnX3HyxK7X9dfakpJDjqXM1+W+6VB0yADn7ALVwqp2wfxCcbSHwboMvfhmzVQ5oaPW9kwWT49H
E8p22FMFLFm8nRFhD5GDisGktnJ9wt9KAlOJ3xNQSAiyCxyCW5wRFWbbDsHF/aoT2q5jYd1At0+G
BZUOK+FwZ2IYkrll+eaW8bQOChOFcuPZyAlRFWRb+7nspH+YCSnfl9A0YIIwFTfw33Aa6K14mkEA
Ecg+A/v03bMm85oNIXHVqpabQrK3i345YkHLkSGxxc590sg78dL5M1SfWmehjd7F5sXa0uAL5PIh
qaKaTuXhbbhvHecX70p8qqvU2uQ6Uihsjs5ijbuyZ+Ir2rY8ulH+3NfJG4EAci0GKOSJ1KtASWiE
FhuAyutvQdqS9t4jIWgd72whsr52h4GAwodsJKCQ8FAb3x2jvTAheCj7gBSc0fsIpsV7dgORowbU
M03hmg8mNfcuramtQ+epK4lxjdsm2ro1y9vOY+eNKvclm4nBEs1xKrorNUB68V0MzuL2cbbsCMpi
Oj+ZADmWR8QqWhd7HRXQYrg36f8z0hqa6jy65LDnajq7teM+WCl2BPdqrhDEdERJ+JAFnrlzJZ0D
CrZu1VG7b3MTy1FvbtUFS771mPjW+f6gbedgoz8GEfrfJhGwljvyPLzSPMiCpjYR449UsJJQXuOJ
QG01uZFxG4u+PI9MDvetht3iSgNfxOZQKwDeqAZgnILniJJiODel468DPy3Zp2R0jqeE1Ab9Ee5n
m2AgIVs5ndTSWYxx/bK+UKH5B9uyHuPYTG7gk8UjEzM6NDaCdZigHRB8Dc1C/2EHSfrEWkmfJigW
G7uneaxEuvNgozzWULMugejIZsOAlVrUiLIzpX56LuA9EgmLt7xlLsGpwRRo/T+UndeO40q2bb+I
AIMRQfMqUV5KXy5fiLL03vPr76AOcE/vqsYuHDQgZGV3pxwZsWKtOcccMUyDzXaT76TZKuLhivyF
Bqg4irkXO6szQsYp27hGIayK4EvQd1iKo/XOKmzPV33ikgbJMWJw6mmrGst4G9PiE5Vuj8BpRpWe
o5blktxmXgkRuYrnR5EvzeqEihEq1fklpfcQEgv2YpTljKkyJbiEzFeEyeLiRlb+OK5NL2OSD8NE
jFBf2OEh7sP4LUQlcsZZi740NqM3VunlOpfhD4BNsfNq1o7zGtXM+QxRoPKbdQOfrrMObOPJczmn
K9p8uJhlxkmlYW0EFr8q8N4Rs8JF05pII3soD0gBrafeDV4HTuwI+LzkCIMAI8JUGtDN3NP9TScy
3ZchCsC5sW5Yt8Ttfq10Qpw4DWMMt6qnCuvw5t6ErCw7vSy0MnwVWD8CG2widXJ2rIPhcQl2kBDH
J05fm3BJoaUnwOri0Z2pl53EpxlIGdySZVZ/WJxmuTZ0A26NYb8EIBm2tRYbVRomuUyeuta3rvuZ
LFF5jUeWJZKhsG0bFhtvkyeHhtLL13HsXEodNKAjTr32whtAB1JdCSZxrATznEso59RPBIG7SGqq
kLck4mki3oFvqnXbN0zLzDGmtDu2zfKAYBCbcxaMN0Zi0PDJmXkwWkxmGSrwmzSTyjfhDvgwMnIF
1rfdLkPwkjNbuqZKNceMBZ3dFsZBtIifRe5Vl3bMMj+KOSZlgzAOATmWBajZSzbBqlXWHG1GpsiX
+4Mqre6wjOOrHiznMowmmv186o/3AsQ1mvMSNoTItBPqS0Hk47KIE+PecNsWZuavDvgDVYrME+Gj
gflZecXL5NSXsTAkKZ3l11AyzYvpje8sdqi91xEmlIbHlqbHRg3SPRma3g8gH4ere4j3SuqagdAD
BrQW2ET9oamAH4nR+1DkNwvVLzqwJHzICyFu2sCoORnOkS3DQtbPClqnrfu0dFlCves+9w7WbA9y
ytWD3afdWF7qpnpsIl1eprr9LCti4VxvvN3HyXfHKSG4Z6XLt4CklftBsmxzzo09LhGXhk7bcrg1
8hJlZFegQ+TttzOdVHI2vsbt8rPEPbj32k8GgWULGKqTlDEoWRN2J24RclynZZsk9nJYSoJ856yP
jgvg39Use4dLyGk4VYYpr6UxPHdFFN90WHyOYmOk8vS+6vWIl2dbkivF21RA7A/inIlCsmvswCfT
ejkXl1aP9BQSzuqqtug3BVy0+RorrGhn94xq9iw0aMlZxqFadRipY8b3jrbqA+c4C5oxtg5iZHc9
lfKHBGEfMkpyE0ppvoUaCW1bFYzzq5KYvPX7p3SbsSgtHnL/6pMxdMUBXgxHoWwg+IY0ijmRHxGW
dI9znj0MdEGvnuNyug8t0JCMF8iKU7sqa+VtLty96Ed1MLxCcajgkN+kmp4JLl1ECNjQ2Csfmf2O
KUgmPkd5ohKcntqCG91oKtwA5BqRBfhrtOz61rIytb1b7gWdTlwMKPcic9TnHHCOcvPkSC+JAPeR
hbDpHZZK6W76pmh8Qxd4QVxyIoeARmUVyzd75DgzVU7hJwa5vmHv1FuQALhuogPHhBFrPGI2nSbN
MZ55cXOJntobzm1Q8CmEdDGpdOLzTgozPI2D/Oym5vLQKPulyNOGfl74UUckY2bEWgJuorvXIaSG
YRT8SLEfcB5mzzLz5jihItp6GlRlUNDm2tBsJ702cdh3bdpLLp3hX04h6quRhcZrz3DHLhG635sp
fVB/ZuzxUk0p0VRDNhxRrm2gGOBRsovknH/E6ahOZBqPG9lQWim7/CGb+DzPeKV7mJc+XHPnrGuS
pUQEvw3x69oFRS4aBsjSSvE01x7JjaCGt1QzaHPbZePYtG1sRX+H/nsPqSJq/b4ai51hv6cjIuq2
ZN1BHV08kw27Dyt9pvJS+yxIhp0JNhe/Oa2gRKhihz4dKdzXqBvGd6/TbyUrx1IwiEqCm4QfAC8m
9HFNYLJNa49jpqi+uBaYfscjt6MAN+UPQ0gxZb11lfBOoeriy9Sj2AjGxT5znX6eaGfFdEHvnXvJ
de2oun6QXfzS2hy0vYWEtY5jrlda0TYiwOfj4LkPTbpwdgjgCAzNaFz6knjIe0eil6zhTkK15SbI
BK1sxEzP/IvUwCRu7aMDTnvjYrW6ugtUGTzZ8XFQMjjD9Lqi1uNQibjlFXkNAeu1xOgegB21ZR+9
tjOk0HH0yp0WVXVx1gfEwTek+B0GSYqWyJqenbI19l6G2tzi0umEi4PcDTq8xKJNeN1ufUlAWqw9
ASxfnp2eNP80PCu/eutDYRsf7bJ0Nl0DslfAaHkoa2/fRyzVXYe6XKSR38pfMP3ksXCGd6AqLt0M
xempdpbd2FnzJmtD50Kb9CkYVXGe0qq+tuiAzLkKz0tiv5tGWB/KskroHkzBczvGn9j/v5V1570S
p4jEGP+jr6goj+miiPuJpuwNlcDWwMa0XZJibR951qFibrqpJC+0cQb5KVq67ymJVRuqInG2Ejv0
FV7mw5T2486bCiKteneTA7RmH7fznWrm2geknL8tZn6uLQJ5OgM/Xzf1zH8DRqwEQOsPlEDHAR/N
bhwGAmEzM7glfUN/xorP/GW57T13eWtdiv7EY2yAR+yIusl96pL8vanGfeSa1lutfrSuiVYvdMyn
Jamv3hhn+9qKc4QastyqkS6YXLoPti6CvWwqmh1ilBdhlR9Ml8vZkwsTzZ68zXBaPme13e6k/kyO
l82WOlaMa3Oyj8cJM/VMgeIN+SFnGHg2Ed4k9DUlSWt22TGOZEp7XTz1FK6I+ywzp09ITn8F6cJx
kK7b1R2mvclS+rmorJcwoXeTFlW0W0Y2Fr4i4xBXcfu0RpbRPrhyd4hbEiM8DkhO2IMWqk9LTNpf
tpJbiHl+mUKPTAno9Hvk2dU+mRC2Jkn02ehmHLQoD32RAZmvWmmch8xpaMaxSnodFaZdQFiegrr6
UqGjhHS3jP79v2XPZC4KXjpRxdU2SqJXGT5uq4VThOo3oyvnxz7nkJb05aHW8xP4meGEaty6Dagl
E3sen7gP4wO3OugrHAhASPsPQfS1NmZESiJQCAppmnAmQm5Ph/Wm9Eyf2qOW74sIZxXMgE+6/DFH
YcKsraQJHqiRNaKOLmEf1ez9+XSZCLSF3uA+c3yjCcsIcGlmzLP5om6F3YFDChLE6onB3eiYjj81
+XVGlsTIBuFQvCQUJHXTPo55Lq+m+GURkXQfa6cJFb6X9m9BFzev7vgJve2TjVt+07KM+HPsfh+y
ju53vLgbtEvd64Sd80Iz58mYlx9jX3QvodzRwPd8rWoE4AtZooNIfuFSsv2mll9h0L/Zoe2hiPTS
vT8pBI+zZxDZHs4w5Cf5CBlo3yF3PcRJ+JhoEv4s0k05fOzweyPr5zK3beNHELbKjwyRMhLmKFFr
zuRGe+s42/JZtnthHBHaOUQ2cftEprhwvon52LCLlPjY3CJvD/CHmmB4JpusQwIA42Ae8h/CFCGz
h+06SrHFMu5F4U6+yM33zqA0Z/jubqdk5qaPB8YHRpbTE++RBaLIzap3o4qhszMj36t0m1Ta29hj
fTVzIKVRZHu3+09haFxTUlpPEBR605eZHI7oOz6PoYuRgy6Blmv0dR2FjPZ5uP90fzCW1jwPlnEs
piZ8CIscmVkX/ailxEfbZnX0UAVkVpTDjEBl/V2//m5sCeHuFPsE01Z0hLYtcKA4FZxFKrCH+wOa
tnDfo8f5n98Fyyz2TceExFFT8mCGbvJA6b+cwjB/wgyfPPzv7+8/CRPozTI0hKM7e8hPtFP6yk3O
2i6vynM5oZX1TzZyltjamdcaMt12RmH4yTCZe/6+sw2HHmE0DeGVLT7QY0nNM3bRd2uGMwSvq96a
aMuHNWNRuUVJ7lrd7MTKCDTjmWBKt8TLhZbuNaU1eR1iUkpM78W2ieOcFYxyixUh6Oj30Yt/yvlk
twaLYOtmD3FBh0wG9vvIyYvM0PgDEM1fxRh/lAj5OPmf6Sd3DCWAsAMmuOpulsiWY9rvjbqIidFK
LjusYt3ZITkm6sYfRfHFtoevguFfHzYClv3BIsYxyZxPmdCM1aJ234T21ZtpFnO2o2qz+2YTFeFL
yxw11U6PAryGFk/nbCM4xTkeij9cALNBDCLhB9syNb+CuWo30XsvvjnMizhJqXM5Ts6uqE2mNmSv
7bwkJa64cLdqALFU9BkE1ETn6EwseOPDUalyelQNvhFlf1lEdp4dF1ufyJFUuM5zZmeMeKvmQS/D
nmMrSkwoLfTWVJAzjvaMUxAQ9NGvnehI988BLfEt4nYssln/YBwnlN2fpK4cdCvUBwlFI34x+nhd
dnUi/iAahi8FrhNzLlqW3XrHprGldawh2PA3zWw9FbbH1CCnoSi/ZYMG8qXhhQxL0fkGGZikD/A6
tC9FOm2cGTbNt3TycpwO0VpIE9NH+q3Yjl5K22bP1Ip6OCdQ2+pbjr7ru2jkj2UMYCcokloH/epV
2K+X+MckMLat90VjRlvQOPFGVc73Baoodoo0O0Qu0vYKbGMePDM7rlE9W/jZ06ne201wsSTovj7k
cKbceYv8ZsZPrt9cxkSe09HiwZBKcrr+6aWgRh2mpi0BmXErsbP0iEbBzx3zUBIOGRQHGwLLdh7b
cmf23Zn/9es4YN2CrXuxkplczaIl+zRTrxE2Y8I9W3NXJQMtUJBKk24+WWV6mDRBEewdP7VjHinb
91ZqgjPsCOb1HJrx0R7RLN9AIdZIoRqRqK73+aL3LqLVgzScZ88ZmSiEuKwG0J/hEFY7zpkYGuVT
39B9VEHhS4iXO1N3CK/in84KhWmhTjGsBPM5JX7vtaHfBYDuA6c5WLp4xB25lfZkM6XP3X2Xmu8M
Jb/wucbVo5wMLnCkz9sSAtrO7BjQ98aOqTV7TEkbpWrV6peiqjf4fgIkEbs+IIjcIkUx6tojZ86C
KZtmCFPRtE/JeQQJB3kKQ8w4J08E/HAmTbXYVjWofTpobDjWyq2VbfNqW5TN7bAvEgWAJy6ZG6rW
L1rYi0uOMAnQZzOGDQN6wu2ria0idOoreCvQAZDrcGHHGxNzRG0LH03dLkbetEvcagtC+rl0E7UN
oDhsFwP/RsxYZ+4NxUJYMCsr6G95Qj4wDsXKJxacNKixN6NnfuuyFAdcTWmfNhkDYbxoRvUDwa/c
5hVN+8X2xDYPPpSedcxyeikNIEqfgfsrPqRiAy6nVN+J6WO6Mn9F2fQ1ZUXbOJo8zAhBDUgFez8G
5ns90/Khg7GpJ/kRflm0cd7yXmB7QFAPv+lI2u+tzBnVBjaNONCwmJVKX6/1php1d4ptQmgXinjT
Hclfqt4bJC/bsYO0VC/t6zwSeCYLlJQlsEYd86Xapr1XLZkhY/spSdJvIgIkoVmMi2beefEYHbAg
vc3TpZbBF4uVyIdpMoFpUS8m7frIpbmsXE6+cfoZd0kEw8r6XpXhx5XSmHhYrpJ0olAvl/fcy386
Q1sdqhKYrXsKq+ZLbvehD/KJUcNyLRtgNTSHaEY0k9/nnd4PxkDCKFCVxAhisC7mtzxIOj9TzM2r
pITWZ/9AHfAelsN4sjv317B4P+EciF2dGfuxIejz3+Vpd+37P8VpjiP5z932JHEW/VOcVpe5JCG+
Cs74sX3Ad58qu8IGUSC9ikYi3C1YG7QlLMXaH+zSDBteatxSDvo+NuF4p4BEIJa0o0NIdfSXF/cb
498i6sDRGl2vjcjXUd5vEGwVLJETMUs441GTp2Ztf9le3O2dSO1o0dPPz7ybR+jJ2tGC8eBGzn6J
yTRlMGsI6rJxISOmzcW161GiWvPLX17g6tP7/dOzHV4e7gKWQvM3ad8Aqq9vvTA4K455IaYaqokC
ofsSA+jkhQO0GSdAY0wc76jSzN7iBywf/v1l/KEx5mNyTBN7KGJj0OS/fYcCK6ERIj08o6ZhSLGk
wCVtv8z1e2lTdGbrl1nBwAzKLPuLvHH90//8ALCiuXwzrjRJ/PudaV+HnlOhDoa0sI6kW8aFSRy7
Oz3i4SF9ykVMiBy/dWCn/ft7ttbv/rdnJnHeEly5RNfr371wwi0TUqFzgmJwtj0i+zp3o+F7QSuO
XRgf5hF4imint2Jxf8HKbXxXPWHmp9rLsQ+u1r18ylJ/xn5wbYoJvP7SX7KkGW5al19zmyIercPf
5Km/u8q4pPmkXNN1LKm4ZH6Xp845LR+PyhiebEN/xSDQaFUQlAwd/FSq4UmKLZOC5ohAT0Hq2Abk
A8OFZYQe1MO8R5WYjFZ5he54IZK3Q3TdzkdsUs9VV5ERDMigb9DvOdI4MDdGRL78yEcXHnCbMHBg
NLHJEVxcMbCjlXNs0m3aBPVEYh0YTd8ovMXbv39Tf16drrY5kLmm41gMGX8zLZaFqk0+afvc0zfe
tNzAG1PWu3roP7eSSjBuaAALJ/nU2Km5//fn/lN6y3M7QnucSbSFJPifq1sWWCPq99Y+C9hLxTK1
e0SauFGcwHfWtum/P9ufy5WrHU+4WtvYjf7wYNkdeXGoJW3C/YyfY1l9aHBc3bv7qchhZQU///35
rHV5+e0egBoqTTxRXFb0BP759tI6r+l8lPqcBoGzi40EZG1zEK0qNmW/NjvWEUFc0vYPjZeqagpk
XpLdtnRpAq7j0RqC9EmG1ctdNJpXXrItJKeqEetRqdU+ZcFa1oynsCUJz6CT+5d38OcC6tqa5YsP
TEl++u0LAoYWzGNmq3OUGA7EeNr3Sds8id4Nz5PjTUchjM+SQZjt8XIRVPVrSig9tlWOOLooRCow
PkEfbzK1hkCV9g3s9kcrrkLCqj8Eul4O//6S/8vl7FkEhwg+dvb73z9zMq4Ieau0dabVQINfM+3Q
LlHUKABPIiiFX6xGB1rhYW5e/v2pxX9Z87iSHVvSgCar4/f90KF5y3Pn1vmOLK2LZd4IF+XOAO1C
SKb5QTPMN9G5Fb73jlnXqqltJnPaoPEb/nK1/+7XXpcyDDLKFcrUmA7l+mr/w9oymDHoQM8W58wm
oOOuHiLez9o+cf1Fh6X6wKmcG4760HCM8i939t0I989r38OloxHUOQxs/lxWVlKmWUTmuTLNL/QE
K5Qjcv6s3UMus5clZgQtdU4LNFhHOGYCcjhbHf+R/e7EkDoyQ3xrCEdf+lI/DvJM5x5OSFP5zbJC
PqAu7WMGl4+TEk+g4+NDFahz6PXiAs9kOGuNl94azEOnC5vUZUZuFZrahzAOd5I+ywbDiN7n8N7Q
3Nrw08vM8xOVvwyyO/a1V1wYSqw+Uj1bUOpYwY4KaxtcOpy9dgQ2Lmsp071GsJeJ4j0xwxewze0e
IoI6jSI4hitpUAk/dsLpGiaWfRhXg2lYGdCdhvl9GuXRAOM7Gnn60qyYUYraazuMC3Mxj2Fny4kq
6c0FZMDgXgsne+3C9KlvI8HprBB/uVz+y4aNR5ojK7k7FgeI+2L2H5dLAQctJpdUn8NRuZclJVMt
yr8lUes+D515cUNkGOmMZgCeO1523a2g9bd+InvOXBqGy7RgwxpdsdVnByi39AnQMjIsqZpTX+sP
IC3gdPSL9ZcXrv+84wnJYpXFzuq50v3dkhlmA7IVasDzXSaq0ZgsxvyrD0P9Lc+bd9eYz1mmnVu6
LAHWp4yZdNE/dZ4CTVWxnSKhAZTJIA/lwzUA/kz3WaIebCb45IY8pSHGSzv5GDKt2g1M+Q6YnbEc
VcwaWsZawvssEyhHG2HkCjIZk3wbmfpZTNXTvbLqOPdf8yccUyyM3mTtMiumh8xsGUy1fJ4MZiFZ
873BP3rxp4wsCWCv/bGmg9eMM8i2d1dWmFLyWProsHh/VPeST/gxDyYIz7jBjmWHzktb45e/LGm/
+V1ZRIAtaNxxLKjcxHfv7n9cFWbdRsvgsoVl7tGj2fNAhGO9Q86Gv8hb3e4dvk2xqkbTUpXQuhyx
nSJEEalHSkyT/mV1F39sqWR8resrFiLWNvX766njlsFlMy/g0PV4clokFY6zm0qzeYgVnYTuOe2K
cutU6B7BTO2jBaV64TB4g87cXvtYRH+pdP9c9XlJuJokzm6P3fL3AspdLDTZNA/PVhRLZKawDOlX
BMQWQFQAXDpZyOsc25xv9Pvnk53hsTcH6wJoQ/4llUj8Ue+vrwWtsTDlWrzq39b8HHcOAF9zPutQ
rCweXZzarj7EjAEB1PClBRYhkCFzT7+zDeE7Pa/NGKvHMM0gmdX5E3P9gP9Pr/ya0y6HyTi5LNPy
/pfr6s/dyaagWA8lmJs4IPx+NIOcG0925Yxno4FMiXfSPOWheUUdC6eSseORBixARTT/j0FAfLN3
qEtubS/Oo6sRv8gFuMbo6A9R2DQnMIb9pmnc/JrN4y3aTwh9X6p6ylfz+APg3+qVFYI4RQ94WjlW
O6tnGS7TtvJnlTa7pfS+BEX3kzylfA0wCvaG2eXorKrC86MCQbhOFM3FVVgd1QHsB1ejLLRbUiu7
n6p19EnXEhDynDu7zqpbojfC8qIjWtso0/bAb51D38JeHYRTHGkWSORBNlTAsoh9AgbmR+7pgq4k
ObKLDpA3Er9RAtm7TJKx8P2h6uZuP8ylOtwPICUDPdSvsrsuuCVxhxT24wKg0B92ee9YH8RMOZ+k
4QcwEV+yliNuGGc7Q3XihIPzV2OiBxnk4sJmaG5hBFPW7nvv8b6IJjQNL6Y7vM51/8UsF7wRxm5E
aXWNhfHSWmD5wwkthaPCW1h9YuCf4DnwvLMNZep+ko6D5tdUoGBPPLKdKnaCbbGE4kFkMXtcTgyt
0tNfao4/L34tOOnjN/a0hMOynjb+Y62KCxwyqLkI8E4lpzXQc2sNXY07Fw/wHiI6c5H5/373a8Ft
rxySHblhf683u9C0umGKiItOAYYYpbpl/eBdEqPIoB/asb+48tB1QEZWVRahvrT9Vr2C7m33+u83
lfXbAQcaAaWWxU6IGUybf9xTBdYPUTdaMZo23mrHLa7cRGzBmoYtst8D9g11sqPgZqh+9le/xoJN
/wR/0fuYpIRSNyOjMne8xXHxjUKExrFF6AFCx8nIqZ08RvlL9CwZ//klymwCwEBVpe2unCbrbys9
AY7/PD4p3ostbVvyXkAuUMH+8/tUGZNKhWj7HE117LtGJM5Lrs1zDoEs39z/jWVRnO8/pUW2bas5
Po1OsJwT8g9ofa8/ugGSp03m5hlxusZH4NTL+f4QU8UjcZ8oPBsNtYjfazKxmD6VVAZ1t5ytKWWg
QFQraVHwmcxa+mmKgeKxnwFlLAxTEluSzJ4AbImq6f//aKJMMUCAkQpRynMSufNO2+2v3JsNCJDL
xP7e9luytwINDLGMCCUYkC1lMidpNz0mRsVcO1HBOUOuHZBdvuQTCP9u/XHGLMRA4lysD/efPNDs
oDMLk0fcyRSr0nwudIdZpklewRbjlg5IP+Msmh0nWx0s10RmM0Wvdc+mxSqGYq5+y7scobHBLhBZ
y8GJPkR5qA9OjZ2NWQJ6ccOON1YTvd2dmfdruEAviOWOkAM94QfqZ8YyVabqJ1DmAo5KIHMYigoU
X9eQcCSxaYG2KENAYmBRJ7QkFsONl0QM4q0gQr1Fy7KbgpRRQcaAVcyquXh4gg4Zq/R2zl336uRE
xIwair8CxbOuo/NYPakETlsVQvbLVBcdO4xi91fJDPxWMHs/gaCLt6ZT6NcOOqXvpVwNHF+YzCMR
8m1Sa66GLPtrgviJw0WF5N4CUtN09Jq6YngKgtp8S0LTO4RohxvlBa94/rdpzT1kGrVkX2orw4/A
76D2Uzcy07PHOkEwW8JB3kJasU93uw7blrEJR0ZXRjMgpiAGDJMednncWkeuwRDAWIR4VRrFISKd
niAtjtOeDst9237HO3uE/SzeRgUhPK1DAw8oLfm51DnRlGJVO+mrTlGeQe+LDqAikwPOLSI3Os5P
Xg1LLA3sNwRj1i5BXXMoc/yQKTD8zo0N5j/hR3pEj1itaEMJdXSzSJysXB1DDvto1BdrB6j6PMfj
ltFHWtTic5Hrj6rIP7ttiLC0j/CV4oo/WX2zN0heO8pQYOUD22qbWPyrCFdfM1ifEM5SOxeZ2o2N
io9ttBt50qRvpide5qazscf/T4fSTJEdug2kUVTqGMle7sbUeZXlTrX3ZqHvYghDL1NT+l2LqX8s
BVCkwiAjwh2RV5GK+AklbH0YXC6ju7s4QGH7pOBvb43Yjr830VczXOyD14rsMEbo+2Yzg7gOGhtb
K8d1XAZcr4v1vKCMeRvRiAPKzyLESfwzq/sbRh7Bamva6EboLjg9YOMFbP5T3FD1ywFiF7kQybGt
zaunjeIoB3zP8KjQ7GH42ynCAHBhB/IFvQBPvzTwNjPHNwFmJuQ1bJXtZpuEnXfrpow8y5Oa7eoV
MkO4rZq6Z3iisq1cmLAW2ao/wnpL6gppaFhOERBkRxWWHqKhcN165xCxrYkEsomuNEsiOI+sQq3J
DVHI3tg3Mm39DhiCPzDAutkWvGC4gRcP4u+NS2HgBUgUejgLLuNhTn8SiBRe0PZVVzOOV2UKhpMM
YeXVIzBRjN2VVm+2owHpbWsnkXsSyZxtZpThyR1aqkw7rN+oa7elW6hnKiYsK157K7pePHikb+OJ
eMG4k28wQ7HGtC1U5KHzaKioabzw/iPwOEC2THd6SnQxP6GgirgC4EKPTr3XKnKfjLAVjxU3U81x
dhsixjzH+ODXBu54HmrjmsAcDEKGZL35uawmenLF+JZaXsBOOc9+V4WPCIjd1zT9zsbAhLWVLshf
Tj2cJOvQwraJmFcdOkwWQzAghHryJtGSGaPF3qxnuOFRkZ2nLLzk0xkIkIO1pPsKw6Y5xLkMt2GV
wuhGlnQpS/cFtisEYO9r1IcnD5/MOfUQwc2I3/cxY+2NnQmQiM2wsqY/9K3cTritLjFq8uMwVGem
jMnF0GxxjacDPCAVukZHUVZWLCkvRhruK6jhBN56j2VHqNTUmM0hSJNnVdDq6ypu/LIqlG+YeNJ6
FOYnuPfmKZzzD2z5LFRoVPm011gkr+0xJKFv21ITe1iQpsHPGAYfwp4kNThd92lqUqEiUm57qfDg
xhuArUZNmi/dqwcvkb/S0PZnSZwLugBc0nrSuxjVVBEy70Y4W17mnHK5Dny7UO9BPVsbaAjWvnM1
dXOWPqK652tISCRqIT0wAR5xfhmHMMMogFtseWAkSaMNZpJPqqi3j7At73DF5IdgqfFKeLBTG/Nm
9aZ84NiCVg0+zePYSJz8yFrRJkHeJ/eyPExd4xPI4F4R0PW7UpfRHumWSUocH32XkVxQp9NJyxrP
+fqnGQrHW7HSWpDugEpzptc70c1hCXVZg15rK0xAxvUT4oknpaV+rVkqc4Jonpa5LA7j0I3bpbEx
nAwpFp+gd4lUNMWOTxKyraPxUhJpgGUkvgKxQ5W3QBY0vY92+kBGpfPFhrfRAqvEr1WqTTKNwysq
te1d+1umMWOWSH/NHRtVYZJFJ8/odnVgqFteqHnXDM0TR8ofVlwfXSCXJ2H6ilKKg9H0AzkH7sO8
fYbrRfBDKfRR9WBS0/DBosf9aLUzYTRV4GdhdrVa0ztaTW5uF4nUFlYlAW/hKA6UaLs+Xuxji3li
49C6pBfHqSMi8MmeaTN07QBQz7RPeVoDkqvV630s03cyPdlGQ25aUrxLEwVHN9hX4gQvahVbTyG6
nSy9lolqTlbaM04OQozWQ6cQ5o3TUfIsIq/GC3StQxxG4qoH+7K42Y+6S7yHAFmQpMFz6JbmqZ5k
ytsIZvJql/4ci8CPlksxe9UD+jIkxaoyTkyegbyYDbw+Po4YSAOtIAgCc/JSEh5609gnxCzca93Y
vkuyEdy+8evdWQ53aePWebRrlvZKjJ9LQioEGa8jR3kdhnSVNDb9kPp1LYQ/IW3dTWB5KTg8a8c8
H02rORLxWUW+m4vniu5I0n839b5GjKCagPxANCWbKIA5qE0M96rAem9XWN/H1cKIQxSfcCMZ1EXf
kBZPx6qTTyhaC39OmgoRQB+cOeShk8cavRW124AN7qtDbOmvcSDlTS/talRKTpaZfQ6mUe2Zh4pN
lOO5d/D6xGbRXRrHfvWyapuqxDgHa6qoXXICTavxtZCteelV6DNEnbfdrAqaxe1RYPu1KM1f6O29
5bNlXrIFvcoYpCcosJrx9jDsIJRFD8hJ9uOCvRlAiXMVfYfxZBziM/1HQRYfqy9twZwDs36yjfgj
y3hzHmkePRIazA1olyfpRiwgXfrQL9p7pHVixwgoYyaCCCwZ+9Xt8E73r3q2n++AkzB1pqd7HYpo
ep95MrpS70uWcSTdRt01O4M7H1DcArLaCdEU9lycC+l7qutPiDxaP5Tu8Gx448mcQvPW9UaLEl5D
GdI2iXyR85iYqjkYOYlQwYLwDmYBQpU2/uYM6XKaxh7Hqpe/NCJlQ8uNVxNI2yGRrcdyD0xy0SNm
8Dg4eVNdvRQk9klB/iI7Z3gMKp5rGtJPg2xf65wQazEGL3SL0ENVqfU4YLKmPQRgZk5axHypmx/b
lFML3iasecNyiVtzebR6wAP/j70z620c2bb0f+l3FkgGR6C7HyRqHiwP6Uz7hXBOwXkmg+Sv74/K
qptVBxd3AO5jow50LFmWlBIVjL33Wt8iN0x7n0T2gBOpdzT3ZxhBR0Zb9UE9rAWN2Z3jhuloPdMF
7VLj0KQF+xuLYyNbTFU4wNoK59HgtOos8Ifundr7Ch3AxDl2qjumZHM45ce0rKuNZfsC4wZ0p18i
4BY4AeJRxqmYi1awONURjs+n2jY3kV+RcQUv/RBH3sgooH/0RO5+KL5g/owtqM/a4igRRz5VSwAh
q8khlh7247FPMKiHyzmDUmvMo2NifXFqjf1g0SJJrtrKCDoka8e2quNDlE83Wc/l1rLm8IsTobYZ
nZUqk+EmB3JE7KQVV3fmrNwg/Z7iyLyFwnrwbbB2hhLZmZx2qB2Z/wKD9RQj77v0tUX/Ymoe7bZq
H4cBReRQzfDQqR/ux61CE75WDQyXtkf527tifBpVY1yTXvivnH38jT2hh8fos50qgAQD+tigcfsm
8NV0mDXqPCrsV8tX1knLdQyWulns+GQ+E8JoM6NbsJ0JwH8fdWjR5PJxQcpUkG5XUzpaAJrE+Jx3
QAtUOhD6g7GbtqH3nHlv4WwDQDH8ZwV+5RdXhK91s25nIoLu44LexPbE0YZ5sQwZIxaAW1prQZSm
zYrGGZqrYjzkesd5srFA1Axgq5dM27JnP5DVZFZ5WTrv/AWQS9qrdeZUM8GHMBEgVcVPWhn+hqkK
QNsmJ7zKHAlqMHBFhKMttgkivQv5LVvEPOkpZ9h06NzubI5RfRwZsnh2c+PhEP8mExLmNK12nY9U
Y9Q7bddMU7crQ/25YAZwmmhI39tbcxt9KwZmuD7O11Xeh8kZizVLs+m8MIJ/UcV0bTRcXRY7uKlo
ExyPcJ21NgJy2OD1NHZEJbQk3sBEaBMbLDAenLrN2k24uJqw6rcPVT20u0L6+KwMjzSJbtjhr/a2
Js2vIO7bD7PrBUiyYWaagHJnNchlDSsm7ZOOfFnaVAbOpAeZZ14Zlo1vmY0FZdrmWeawtSWbIlTI
22VFUphVtFfVdekR7vIx77Ly5BF7IbsaTK4ccXRYTMFKwTzsjkjq0M9ukG0Ri5aSckIL6goTZ1vY
bfMoEjaSYdJ8nSJ/YquNLovUWQiXOd5Pk7mLE49EKTNgOA2yE8c8tmmYlTak/dKLz3ZOatcsL2Md
qS0mAH/VMCpBAg7mxGHIake8hwXw6DV9C+xmozr0buPs43C8SgSX+9E0f7rNZF9y3TtPHr6I1sKT
Uk+J2kfIMgNdE+8WiuONQ0VB0TTM64H3b+82r8pjaTAFp/Veqac7CIq9kc4X318ZkNnumAmk5sY1
nOLVUEfNRbP7F0K2APV0DaRPzyG+qiYGa5BGRqLUNlTleFb2ePSoIY4VCLAeZd0GxW8KVctpTm5i
PhjKa5+ozzk8F4NsHl8HLz96qW894Ms9lX02Irq15I3+/RLmW29cKfWgc5FVTlpUn5u6IpK0qR8M
AuU+91s05atKl81DixAdUOraHeaWPAb7JIeITx48xDa0y3fVcMe79dBWsFXHvnhIsQoFhkR9WeOq
WKVe91r34mXAhozNaAJ2Yq3dJAQTBoNozcr/NdciPGiZWV8UzwmT237VSv+dvcqqtrxsh62WbS5N
jV3WFBhosuRSt/DTlyqzKaZfjdKscsShALzcGoxeZ5tzl750LYkGvdZmxIa3z55D8cMAxoU9nPRZ
b7b3JNKZn73wA4riVznimbFcFW4ik6ytzKDsH03hbbBZGkHYdnKLs20vcceks2g31gA7JvKjC87B
7xCmsW7QGFg5Rm2TsYYjCME0bjXzJRW0xAyjd77PZFi+a7OQlzIqqHY848Uns7yVzpsY7OHBjLND
o7vZKanzJ9lQeFnCgvsSjo9ku2sosDQScQm2WLdx5R3izjy1vZw2rRL2x2DE9kab7IOTFuKBWvTM
IV867XhAjWIGGnE/q/sOrmR1NWKmFzGqY/5JfpA5QBjdoUBT0sndrLs/I4N+FK5MjN49sgA18V0l
uWkdudSvpWLZ8VvxpeVYX0Vy6g5iHkacVVqx8fVpwzIRb+NOncyJEehg1NdfIMhFQAb8aQySUCdw
WdCVGBMrC1ybzntIkuEw9OiMixI7C0k0ep48+0RkQtZBOIjad+fVpAyjf6vWQguJZY9DB8NMcsE1
RpheOBegd7AIzfP4w3WA88164tMRHKPFK7gs6O33KombPSwRrOfD/FXbweXB8eNfldmro6NMtR5F
NAR3fBdUAdhJI7J9aXbVUZk0a++iSQbF6dGheblKbYAuthx3ltvQhaWs84qq3VmKbbefUU5xCnIG
9LwFxvJVN6QbU5bFcejSj75z4gtb+XrVOIJzF/umQ1R2j6rzxUG0LqeUSb83TenkLbfpzXQ2ckMG
wi6GrVTDm7Kabqu6rCBsjLRBOO7NxvcUhd64WFQ6hdAmavX9/Yzfd5AkynLYNlRbtcAXxjGJDRWo
3Zjl6ovTmofYwvXs6ldMtLo9El5FJB9LBHgxrBrATccbEk935TZMSvVmM/YmSYUsskR6tqdZ1x9n
LzWuqgEQQn4hjm2l+O5QiHpLsZN14ddGQU3wmp6juQay4dltudJ9lRwt0F/r2XN22TJM1PHmUUYp
5PRlvWN+Ig4V9qDVDDFjH84Yq4ywfud3mF/MftPFsXFuVX011egctAkDOL30m38sH9YQWxy6RSSk
KpwuhyTV26A1KhIvnfa5ysz2KWsS65BbHa1ELb81V0fZ1qOdynPjld90L/M21WDVOw9xAo0Kr9/S
8TVeak5Vh4KpR9mUt8yG5aZi3HwhJwQM5gckzdNTnIG3IBVu0W/El+QpqwlscvrMCFg+bq4zgQtQ
tVybCUv0HE3OmZ3oMD3QQw5EA8MjgXb6iGaVIV3tTAQdqpZvYzo9CFxuGIdJ78MHKR41j8XWMltv
HwKZIRcURyO1ss0oYjlya6gwWH37HfBTAF12IRmEt9a65JSLD1uR+DSaLlHGPec1zaRd7cfOm5q+
exHuLI1gsGtCzPdVB1Af+sV7b9M0mbKXNjfNT+Yw4zZF/wjWozqZ9vCdmj8KME3lzCzm6IGzVWAR
w3ZuAZVsBa7tFW1tmArSempsezOzcD6XLEZT5B1tNk0EAllfK8ICX9EbfPGMinAXv/lh0++U6Sev
8MS57/XoYrEgG2jKzmbP+MCj3bK3i/kHcOcIawMRdqi4rdcwfKMiesnpGD2VErp1HKUPXZ/pTDLi
aTtHEQZTFZMRIMGzFrTTtSScnptK5+vTTTYe77onMlMRoTbTk4oc2T7i8Xo12QJdRHXWzFjfGSSA
kMoTpT3ToPo1tfuW2PGmfvMWK0KoqvGhrkv9URnFF/x01W0q259FD43MVEm2S5Xmfp4ncyHUzdq1
nPB+pGq2tial177t/YQNlNZe5XjroSCVOzcLA+EmS0pNiqtdhaxVJDClGJPq9Nygnj6G8UwDkLyp
GYsMfh5ksuToWTS6fEKVI7N4Vsn4OSy1cRuB0D0T2HgSS2vEmYaB3TbFXF420xUd3XQ1WcoCbRzp
6vbTp7SX1m2YeOCVxUura8VuN+sYQvf18Bxh2dw7g86XY7k6VWH/rPsHy8n0h4zU8tItjU8yUhvX
1PO3hunKLgNTsW1Ko/vk1vmBjX8wOLjdV5sQrzLHI4QaUJHah1FNbwroyWvkYwP3fG9D0qyddek5
n5GR+bl9cDvoU1TxntOdyPQFPsxz4wAh9oGRdILfAXxd72x2T/z348dtWJHCt075j/P1Bq3lDm7V
iUCgm/eSfXa+0w02qxUJHYqAswKSC2OjoGMHEQfxGhi7vfFZhaEDTHvwxs1ZeQ+xekbHXsEqbgJU
szsr2Gyum+vbFWfZ6oNIgTUpVptxY27tY32Ib/FtePW+iJ9gb9j1Vg5gQdo5azyiXE2e6m7T24w+
Nmm+9b6OjKv2+iE7TTd1M1/aN9DuDCNTPFHkeDRrGtchee8lCaDbXu3o5eNeRQmCg0S/RlM+kTUY
vUR9tW0BouGWYlDZV161B4Q47MKkt7DiNz6JDpN28FRxxXZXXr0+elNlPvJFdTbMrcXXlI3Aiu2s
Bho0dfeyKM9ZOqiPsgIG0I9aeZmQ3N16pb/Osti2asg+80OCMqmU7DHj7DOd5LXdIEFI7ajGW25Z
n8Xg0DFL2G4mxUlg+Ch4Ec+fodSv8NhM21unAhyZx1sKuCp8vrmP+CrrSjmB3U718X5RW1V9rMF9
/rrqRgl9xArXT2ImzdGF2nYM67Y53q/ef0pbDo0+z88G47Qjk6+zFp1zOrfb2hzLo185JfNyfvqX
qw3Tkf1sD0HiieJY5i4kj0jWXBrMy7Zj5j3dfzOHjr2O7YYOsZEXxzARZ5cB4fb+y7AcimM9yJLE
wfyslKn97faqcGnC4cEplJEf7xcyCXO+3Fz8vu3+E1ibZdnnnJ3hWjaW52wLztfhHNbz+v7S7bii
rmSmu5ZGhQ2nr45hK8vd1JHPctIrs9+V4N1m2/7z0ds2Ln49z7/cltQAnIwma9bMST/NRR1tG9fE
yNRGcRdwQoMIpdXFkcqnIPwugzOTzDt0jCZLjxnhEGJQbWb63y/ut0m3yWjplSdtedfvF8xj6Z3G
fsrl6IzgbjQkEkJn1SfoGspW05XHdHkixXj/l3bw/5P9/1OyP2X/38Ql/w7Zvyh+tGVHpsiPO/D/
8P3//C+TICz+6i+0v/8HonZUsraF3BoFF3Kbv9D+7h+UT/g+PEcH84QN5Dfa3/9DeHB6wG2biz7b
RcTzF9pf/GH5PtAnpNse/bv/Htqfp/mnfET3DRT3UO8ZKsJNMe8KtL/JgUSU+nlnkcBR6FoZ1cTk
uHS3T6UFP2MztbhYT3ipxA88rTOEGMLFPBKbsf27L3Vi5vKnawhlf+dILLVPVkg38lVVTdf+lJOV
lR+zKwbt+wCxuyHAlyVnFjM4k7EamN3Unke5uOL0Bz+1rJysfW5sdyIDGunHa2wS+g7Otop6aIuc
1JdV2Si3PlSc8Jsd9aNck1QkzVMVDdlDqnmiCkKlYZ8aSo3cXUsHEHjuYQvQGS3YIa90L5pQ8fV4
q3ck29gmEXFo9xmImZJ8kj4r3kk8wwLWuUQMBA3ZwuWazAbfWoFwsNjloIEwfpjTyKy5BYc8IuOU
ebWK6rFbSDeYmGjQ9K1zBkyUDtFDj/pjRBXWZX7b8mzJpGPJlDaW6DzJ7Nj4cKMmlQcwQMki+8h0
CM8qTcmHjnLFqDGyniyFwSQRc009W7pGt/AIK8bPZZh+hW1OAIJm+Vl06eSQAyrI3JDRtm5ZGaiK
OYKbhWzID9+w+8MV0MN25mRuixygaWxMRwY8IgkGNg6L+9md/FuPYU19EsqrxTN39KvvTjRGn6Sv
sm86Ksd216Y18JakaSpABTazuPVki+7dYfMXbgQowmvusziaZiheCgObdmyw5Qb8jNmOzifEQ3iF
o3lMLdN6LMiDwgJAL6JeV0ZJdHxbh+6n3sXGvy2Gqhsf/R6+I2tekiSBaYLhPzYN/1SG0AKpUWC0
Jv1Qa+6c6oY9xo43sTNxum/qtlrGpSbx0GAlSvbVfTS30yrWhuIGGkvzftquEu1K82cFcnOkHwfP
pMSdsXLjxmXvP8Qy1k7An7Agk7pEyW5V1exBy3YGopYw8ipCd/D9ebvEU/Q+qgxM8ybU2xw4Ae0k
cw+iZomKodzSr1U1GM94yc2EVrCt6kuG7lletFGO7mthQ4zZQ//xvGPIiiIsBn9OP6ebWK/4VNSK
NouiPCMZ15wYajpYa4/pLLUvlZVPz4MrxJMBvWWDMZNTH3Dnm+5O8sw3gElJZ9s0uHRaVmOXxd8z
sr1ftIY4KVVAYEIWHX+tB1B3o2baJ9p/Fd1RK6SgzoudWY3dxkWDvaFELavVrBfNJso6cbIao77E
aNpR1dB40dIZA1usjS9Z45g7FXvlKXdr9zxGerrzQ5UH0iBcM6yt/NDYUj07tQwDKsppDQIt2cte
mAc9lParPtVhtIr82MaTJ35YuZo+kIc2V0sbrEdCn8JHNZCOCsiseKyKQfJ+tBFt/6F99ErZfx0y
ozr0eiyeI4pelDi9G128bOSOgF52pDEaX/KijckOSZiQTnxVwImlW+HHIHK8JG9h2xRIQWKZoq1l
Lwb0Tp5lSQ7oCqEk9Swr5ANei+K9GK1kU/e+vDlOg4y1ScKNaxNUCzfc28zT2MCqM1vmvgxafBQA
WB665iI4FHcDtLqthZngNlih9mHGgM7rvqxe4Td0N69PqLgLbYJflkDrQ8V1cBI9Y20g98m2Y+uG
0dyEzhZZ+TXFTxBESaL/zPWkeG76vL0apDMD4cAC4yDbyM0DoW/aZ6StwEIGN6MxME2YlPUoBRcr
MhzuA61XqOgyMBkCMXvzkcsOzE+SEsEX3RD6f4LAAygKfM0xQ49Ps1P3WyfE+OdQimFwgNW9D6Xp
rU3mDrs0J4Xba23Q6DmNgxXzdkwdNBS+9YaZcIRgYm4ItXhm0u9cm9FuASRF5Sbk89ljhLIP4OTG
g1l1GlSRRNuSMC+OdWws2eHKZpZrjhctMTPOVhP0tA4cc5j7Cwjadr81yiL+eq7jsy6WFn5TIWow
RbVTHskaIvZrSJxOc/WajsnhVEWfwjabLlGPJtE0dQKV5nHcdWC+Nz5e46O9JG4mtN7htTlmgA7P
3PWRBTUqn7xXlAwJHLjEPuGoocGRYrBBPjM+hjkCfN4DlyW5SBJq3rLc+foyxwfKTF8D4ZhPbsxu
augpleZcbekBxkHRWNFWk0ZxqM0SI4ETdld3qvBsZVN/JONlSbKD/tKxbm5G6dKkLwdjPztDCPhP
Dkg6cTRxQvCgK1jY0uUc7uqqoiNoEabSQZD8Tq8JvkXSMsRyoUsUXpnvkAfFIOIT5C05OEXPU+NB
SyHNJXPPBCvBACncnk98moZDxAR0X+Q9SCQhKB90F606ErDPLkK3T2njmQ9a6BJ1FUl3p/yEDPkO
B2moYdnm680i2k0hLTLOFmitpm1tCe9nZOnyZMR6utVmrXmCEkdf2wYTmijYNygiUQ7kM4LT2SNi
dHKYJsGjO/YzVtlk6NUD3OBqo/X5cDVYOXYzGNNN5jrheh4HuUsskn0LolPBtpJgYGtQXWkzxCOt
EDGs40ImR8zx7WVJnMPDIvoFCpkFox+KQJSkyvg9tjWizNR8kqXDtn2OYPohAwShNyxMMWc+9AlN
dWcm7cAFqxgw46dzaPDNyK1iIk25aYOx8DmG46bZdkkCdKdQgJsSvd9FKl9OIAphD+c7Bgu6DULP
4CjNExlkY4heKplxo0IaSDbJoHMObfTsHE99/6RpQPntfC72s1E6h27Cda7ZxDVTDaH9bFhmWuFr
exr39gYZxbiJC6ffzakzEFw4pe1H2VSwvPTB2hXlKIBMjL3C4VhX0SMxjtUh87wIF4fXNp9B+c9b
oebqapGkmG1Ba5pukEjKuW2btm14GWNk9YFOWnC/jQzHs/cER6n57PEmMTCsSaN7Ga25oo4K+6YL
LBpzF07qWbkWxtKmdqyJliBwij7eJpZv1OYKIf5kh9Wqkb026eeeRKyvch4sk3HMfWv/P10F7X6U
S+xX+7+XB/5WVlODIKb7v/+82v66Ln+US03xjyubeyHx2P9opqcfVIX8KQ/05z3/q7/8sxz5T+sb
JOP/cX3DjpD/VVX8zwrn/nd/VTjeHwRlGAY2PddwSBvDefZXhWP84Vjs/gyTquPP1DJh/8HcRGCW
tXkUTKjo2f8sbYT+B21M18BfghffcW3vv5NaZkIh+Wdtg8vB9gkg9LDQCBIJ/9XnE7txbacVII1s
IDfRV917bzlX6h0knsUYHj2+Rz76jF0+YqVJ4uIgRyi9dhfp+8Y0CUet2JRD00kBfWGLmR/8sEOi
q1Uf2VgigTb6H2MeslRLhtVpTgCSkurnUC6tXgoNzteYrGQ6b5mRAZoCqSqn3eQ2/SbShqtIvuhT
uU3hbgdsWwkwbtxFWGstSV0/G1oJ29GWJ0vlMPVvDLpAiFTte14jkKGv6G4n9AtId1ZR/01GIlp3
nvXsFOOwbmL0C6SrpkE4Q3jRw3mfg78a+4ot2BJyxqhY2zuLqjFJUQvMWlFsE5DJvhZm11Sz0xtn
4H5tzczQY/RTrHDYpYxcftMaw2cu34mXrhPxnlPOWySS+OqXQ3R1Q8qozuCE5o7hdGa7rxDGDTqg
sPyAiw9qc9FWJvxrTdu0Pn4ztNQ64RdEIMLO58XhpNvYItp7AKdW8ZR1FxND/+TDzbXT4TKxiO9L
NAZ5GKtbFs3PpJ0vMKc0ffb0r+NQHnB9Dj8aNHNzGzIg6lEU+ZgJNCOk+4/4JahVUCMY2KqSJBIU
AXmQOuZrQex5YBrTi1EV085vGx6orEn+mFyUbEMYkLp28pQab7PLB1qJaNqVY1oeFu2iPWvZmfUI
TxYPLDxNYJVtPkRUgkHg3lMXXe1y9k9j/JSH2ckLrZrGjuatdB4wyWubARGwcYXNH5hDUq5Epfn7
qUmPoW82O2zzxOAK4zhltDJdTxIy28XfBuKQ2GNwoUfqzwuaT5iS/u3q/bf3+91v+/eu3n8RWokO
Gsk6369pOKXX+cCZokn6Rfb+z+e4P151/839xzmnk1dL5+n3895fhpV4HRkx/edatDlcj3+80Ptj
EkZPGEuHZeQ/fnn3v73/BZJ+4th0XOv3v/j9i/tVmUimvvcf//b6ft1Tm19tB/+elCkJ4L/v+Lcf
73e8P80MmBKbLzlGZl6uoaXr5/tFa5iQbmYPH5jifKNIikBwwwx5mNLuSKYt1YOE15GfEQmkf7vQ
MGeAt0ZmCd+rXMvMWnrb3IYA0NiKcOfW6u3+N/dbew9bPPnieGmldbQBAXFWLze1adIEFknd7qfh
HGlUXmNZMDPjUDL0XDuH8EPO958EHKkNGXkNXuOxO6E0PipfzQeGVGpDrNGqSMt8pRt7oIniTMkp
ztpy4duxeWZeK9kfB5ygPsPJwrmx/MrsTFirBP2FrjadCs3mraYBsx0qZZ2ldKzz/SfmsSF+8elp
UcC31PahxoE1Q1w7y0Ib1iFmMNglf93mwrMVPS3pcbnH1ITfGj9iUJ6KPaon51TlBbFsikmfEaXo
xpb3fR4j6GdJhbgyIvrFT7ZIZkiyaG30b5mnn+/3ul/oSMB/XUW1mOwqlX7BUFWyeGYfKqzznSAN
axX6U3GcXajdnm+fWgrgliibfU5ySmdIpvNW8Q0+BUCsOsm3hW5UsNzSV6IsyJGoVU7WPJ2DqcxN
0GTIBsSMbsV13PE8oXTc+Xn5khfTeC6XizExcfsZTIThfoxns7lRx4oToY/5UdnRNbrFynLgusG1
1IfSPpDiDU6+QDW5XAxjAu+XcCt9RLCZoTH2WkHmhssDDjHbUSdOy4so3nGWZme2+rrCXdEwiyea
WpvP2mTMZ514wXOb5OlhhpsUzdx0vx0cab3SLY9Mg+VuyXLk33/6WoN78T2Su7KD0sCkUfOzTi36
1sJXfcccliAgS4e+3eXOWofibcTokQfi2s6hzyuRs5bsGULgunom8nKVsm6cpxEc+pSrvUXMRRUQ
uSA2BWo+AM4Yqyphv94PrEYwpHMigiKQBWaX2irzy9ximsSm0VArcJXg6HY74TpfDfqUXwDUlIFy
CRKnx7F22lCuwGk+gk+4NWy7NqULZLFMB0LPJfx4CMPZoU+RAQJbWyiD0nhwbXyuuEI+x8x79kQg
PIBPN/bm0mcf8bMx6rDT8jiSq3ykuCqOUwieRjZq2M5oeTZ1J3BcJct9VEuD/v7Trxt/X7//YaKX
0Z/3/Je736+afDxbEFEP96d2zc4FqB1D/Vse+vcf/O2hf/1YMJhoQzMiKO3fXsn9+e5PP+fgzzDP
h9VaOjFk1d8v4m/3b4rWWJtYtdZSJzJspdV0ce8X3jJH+n2VEUWDy/Aft91/2w9WtLMsRqzeDnoO
oe4hgLNCulfR10h2snGDepIvnPOVLutXxOd1oJMY4szuO+Oo4dIn4MVSAiwYXn6xwYyN/GsO2QiR
wrbAEixgqwAlzQ736QDPNHWDanT4CxOlZmdlm3GOGfZl2XTIK+MznZyDQ78E2jx0Ith2ZmRI8j+r
p8Ep9lExPXUGwCu86fybtehBY/zeEx2dErhJeoYBpnJAFAAUauPI3FhjhSQ10JjJ+srwlcVhtyds
tXXDMjCMo5+0ODtoph4QdqDkZbzXdjx8iWjYcVHp2tL8ogqCqqk+3S3W6Bzt/8U1a1xAXfuCNx6Q
2edo6McV5+VuD0UeW6pVj3Q0vGuCuTRNIwi5ufaeV/mAgxZhnxy9fR2lJjYPIw8AaWMNxf597nEG
QuLh7KnDcTZKY+BjP6C17VfF0PqMx4d2Dek2XttleEiB1LFFoaEa1uMB4z5KjTiCGllTQQtwHWwk
xSGyh4lmuz5ujLrVVhDngHG33biqEVMHcaugfbIDCxeNSCrcR43PoYnbZA/1PF7lqdT5jrRodaOI
N0FlH9XQHtLJ3vUSa0sqvseLeSTXnx0DdCK67cukCVoqefsFJQJWl9AaNvGUohfCXB1meXMgLIqk
bU1bIpPSl8rEsjXODNi72XmnPJRQo5p2qzg82Ys5t4nYkzNy2vfi1e2JEZ0zWkNa2WKmgO90J5aP
7lflIvkxiaVIMWruKocujs8sgwmxCkylsakYAS+TXcS/vnqnbRQF/sX11K2ilb0Je4IzDTKT6DTv
0dJW6yxBC+h1nyFu/Ih6f49ysA5cKnocEc7BnwWZ88y6m0KOK/1kAJu/dByOXezryNt9igZamdQe
5Sojrckq9eYTQNXIpy/elT9dGrPQ0nr9hGdOqeKjBCIVtHq5bwgaYQzenf3EOdNYji4EUexob3J2
c8Y1ZkuQLQBCB5ScJxEPSBXRddaGeB/naXp06Jc3UdpcYsWxhGKT/gHxenbHAepV+kOjDc95f8S3
Y2DJdNg+zzY43xCLmGMta7L/yY+0flOTSwfNOQSkLrJdjFpFCO6o2165ipJcWxL1ZJDK8ZwqV8CW
9neRzf/7BByY8pNRu69W0vCVCuV+aHSx75W5j3onhj9L26NwL3Iq6sDXj6jqs01plMS+8hpt5CSF
LYEOEXOXy6Tf90LtDZCZImSXTRhlIPT9gATm1be7T2jTPkYHbgj4L0lXxxQ7oK61sJyV1rGs2Pjo
aZdFEuoIqQ/YVN0NcY6fxlZgF29JP6kycqWaOt2haHMS3tu5AIJrqp1dCNwKRORtmQFYpyR9cMi3
XdVR5OHSIz6vIk91xIBJcUSEji+/hKh2DqodvyimJfg2u2uEfPgMsffN60jvAdpGvi6ZrAbE+L0z
+trHGDXZtsA1E0KnD/KJ151gB1jbdR5vcoKPc9jQW1umr3ZG1rAZlfHarCIyHH3en36aNpNINNTj
DcMjPaqC2JPmhhyzy7LFoW24duws20He6VYw/eGGIaorpVwk4NOM8FC7IMOKQ5b9VBu2Rldix1Xy
CQ2ihzR3ILbC5XjUUHXSygGmbrglfjasiOzki9FN1+OHJ4tiBezB39usIbR5ScQsSJUgUm1aFSaC
hbDxD57+k2SmcB+7OUIJKTF6pzX/9j55MHCcUYTz1prGrmgzutsuwm2NTyOxlVyLuPou7XPSffUE
9HYL13VQxOM7FSuTIPDd6BdZq7wIaSZbu3A/Vz7al7DkCBbDpXEJbmVcEGiWw6O2urgYfb4iOH4g
RXJGeJqqp2h237AYIIOwPPh1y4rXLpqHrk6+GEXTbbIQzQ77p1nW6ZIgGC0cipyFPVuT+brkBYOV
Rkv5XfZHbw7DZ7QNZGDdcuKTSbaW3mqS1k+iGO9Cn36PPo9hiHNkpVLRyn8TCwMkI62POc67qTXJ
ccLvg46Mpbl+awpOSlbX/axirOo5bzTul8EMoqUcjUyAIRq60DmLX8g0orLI85tYkhpjPf8WGpwB
fQS2RkOmVm2TC6KAvJcEsi36PQkhWaA7s0B/ocDrg3IBkRMFVqzzFv+CUTAYy0gh88hlj70nup8X
qT9J1V90tJnQWjV8IrIh4zJjOdGtN2lmr/jbaXEbycofaaBnhH/MA+HQjmKgQlwglWdtE69X2FUZ
QNaHIwcpCjcMQJQw2UyF827lfbde1B6J0S5K0W8mybRBb6kOE3h8Ct26WOutT9xFua5TgVjEuZHl
tu41UlGaxHNpkhrV9lZ5JcON2nkuPP0xLZZI5ChS4P3b71kh97hP8LuO9jeH5vCTpf3w8mHfgzt6
Gms7Xs1UQw5hgqI29pU9fGkSNhYe2iZTsvPP5UeBP32tpfWwyiPJFnkGA7zEA2IcK7EGTCbxQnMV
/1C19eZ09E1YREasSWFKIAV3D8NTtqRPZdLkQyTsx/eQrXFiLAJnYNmtFvt+7o1rOKCgkZPozY3x
2uOGWomRxpYpipeooGkjP1X5/D2aq3STWlO/Bc7xZQYDsC+jJXt1fihLPtdIQh6jbEDuM753KNkY
ok14upHDRONTXHdrQxbfnGIOmgRFc8WjansCqN7/H3Vnttu4km3bX7k/wINgT75KpDpblvvuhXCm
M4N9z2Dz9WdQG6dyV6FwChe4L/dhC5bTW6YlkhFrrTnHxC6RBXa/xh4pEn3SFhl/miAyx6JRZBaD
cWte7lTUwl7Mqk9Yz8hPs8d5RFRu435LekA1am73DDRsOnHyhREeudHrlsvAlLWxWhZoPaU6zdfa
d7F9wvN87+Q2cg/mAoWRfWbUxZS/AfXm22rXOE6z82Wy8zMgwETzbcmgSsK2W97Ix643yqEEmrCi
EI7oX2ZvBuZqmzfKRUzJjA8nuR9tmtZf9hMxOKAbIsbO02Uef9tm3+6mQishAWfWzlsY5xI1+zYg
LKTzbT2Vg3id49bcezElfDqcse6YN9I8oRsfj59ZtiDsc4iNTloMXsDIjGkEhGPg/56t5t13WVQL
2/2l9dUvSfTjiif2N3WcMEjvqjSMC6MiHuauIkqUWCFaHZofYXa1qD5jLzla3tGqPe/gSVzMEbkr
wBLG/rZ9SLtFBElCXFXuVQtqAYuAUEJ23Yakv4qoiBvGAy8HU1SftRPKJTeP2pjeJ5YETU+c3rZA
PV36qLoIa7ew/6w2x66P2F9HBwbp8jKaTHRqte2K1nlKBuu3AQpqMyXSRsEIXI1bsYLdLrpb9nVV
pv+I2TQN0ApgYrb2Lm1cb5NTlO4IZ5qW84Cnu+HqPyH5pe/Anz6n034c3LcsQtmRGYUKBmzPYWbe
6tBUC9iYp2ppp7AsxuQIF+csNPlSVg2i/cVrNy1qi8B1ig/Nnp96xQDZmRrUtH77QTPcOYIcSsEZ
ZcbPgc5MYBtLcuxN43Wcm5sWFWqgt6ZHuOwlR0tEhmPJqjvc+OnAoqhJdBw1gaoK1wkMrw1RWlZo
1g0psShx06gio80P5smRuOZmZoB4WTequVdG/Ch8qwg8VH3bcuqfhbx19FLBeAT00E1LWBjMoApD
s/GZkrkgCwjZ1rRyZMFW0Cp96yKiVHu4mZlNhYOE/M7t6ATCwLk4BcqUhVlxJu17xE43dtGf9ZjD
YVN15n0iHii6GDEAKKf33mZkGMFUda+1Pz5mtfXamAM73t5XQallj7lOXERcz3aYh3oCCCz+zJnb
44XKVZClxNigWKG1sZ+nEaxn5B1qLT4Lr3FvliF1gg16h/TUeVAVjJ0wuxIXkzHuTECSG6e1j42u
CEAbyru8w6m13i3qmnANaUbmoaPLH+9GZbyDCki3KBLisDaNu6kEManizGQrLb3Q14zvGofmDUUQ
oH+a/zWyPH+xK/jix3bi5dy4vmF86UFqQbKKn+pV0bt+c+K+Pk2mtyBF3OAJKb/N/GloMhj2Unr7
3sseE4N4oLklwwsVqBXU8hcJw+NtIwdGrwOj1XoKhEvyjFd7FF94uEJ00yWfYlnsoGEdpoJFkShb
dkVrC6s/ePTJQ6oeZ5uxJ7YKEpgbh/ThYaoOUUdzweHWAXw326rYIPs3ukjXOmepp3acyYzXp/HZ
wITZep23jWYorLmvPbu+7MCRMyTPumOFHMZfBnZH/XFMiwN6/RuvAoGPaqFgaV2zyBwXm541kJvb
ok4dDZttPi1SnKLunrLySFja70io/JBga+VOjty7BH8Ap4rNx+KfmmHBcYV0eq9YCxmvZtO28TFA
DlX/nHadcepiih4iePSbQrW47AEsWQL9mMTuBOxgh1PtWXdMAFJN/zi5kCylWunNg0MvDhf7ZgWT
YbkLuojlfXBPaujKnZvMbILXDIacE0on4xj+YUP6hI2dJ7GKEIAOS2Cd4nEEFIHBH4kvq2VD0M8G
ztQvVxgJLlT5kaQHDxkRi52VojeyP7EDcv8g80HPIoycrvs1yzrfevnAPpj8lQGFuU+/eSvx525n
lDrCgprDO0ZpYzqbeRkPanKe2wimrT5A26x7onttbv2IeT4kxq2bqPReZdQOvMcl3Zo1TcYcKJ5F
iciKQF6oC/FDrS84PDCmToIx8dJ8mrSs9e61zbGXo1yrzkuizXxE79kcU8222o+WJoUuJvO20xuY
KQvIQLnzisZ91HKIpHTfT3051bQB54g2hPXLX+Tr3BFtVsQwgriGoCGZqyS6K1aWxOvS3IE5xbgW
l9U9QIpmt7A3D8v2tSRvjPWERo6r5bveAkiSwzsm9QZ1dJF6QbOIaK/G4tmU0RBOPdtSQ5RvnUkP
eIEXuWQLkTgodw0RlgyN6jl/iPnE6HGnrPP35sgWuhf0IKaJsA7febCa9Df23Isq1DNuMzd0HUYe
ek9IFFdlSsGlQvOrAx8JhMPBMY0gIFhMp91ac/KcU5kdQa09Qus8le60Tzzj3Ioo3TP/Iz0Zi1ea
4IMwix3DyVe6oiBfrP6xXy9S+pHBTL2ITt86jbC+b5CRZT8Ij1lPNQvD3DgzpjMjf5fgxksHDeFc
bKHNWg4egjakxSTI+D1nps9IdS/ccTem1uvoSEKr7Y6qLF5+L2jbwl5DZdHgGGp+RlLtzXh8WuNU
Bjl928sw7WN4W63XgCJAM4NJBt67ucYhRf5vEHnTrm7sz8XM9QPLJhL6vJu3DE8unBZ9WMzYKVB+
w/4p8B126+rozRqCJLAzfvODyDJMRPWzCaxil0SgRQaoUW2XPQhhPY/5tKbSdwU9e/etMTKGkEgi
NoUeuqThbJPlh27Bo5ua9iZufVxxNqWibC1jQ9xDmFtOeovEHjzLRKUzVhcimiOuax9qzgjYqTbz
99Y06zCudRNHo9VtdIOuLT0WbduUvn8oBtAQAkaYdOej2bpsrQWaBesbkc5zmw+XHC0cdKrpqyQM
aaPPXhM6JgbOvjvTngzA5eQHrXhS3Y8Uxy2BDOYnPm+QI8xe9WQAWiY6cXSmb/aY6ZPrMG20BwU7
ozqiHKELWPsU5WOo4jTMbJuiLUFQI+mCbfDMd+tU9Nei1vw/C0OGy4686To6L+U9yB1/E0NECgDS
cWjcsWsQuJCAKv1gp/z5uTC/M4kgB5H6dw9F+4C+F2Y4zrBgHiIGV2wvNy43z82kQVbOuaEFWq/R
l5QlBOGKDDWsxMKZWzIi2R/is93XntxzAW30dBxOqGKSI3yjnZdAp8pyPK5pM7/MPWgx5vWw5Ejz
7pMGd5tKSYG2mEFVXrOPB464shd7o0o9ubW0cwepmO11cbHS7nYuaR62bobJh9bxCQUxp6P5VuFA
CkngZf6AVith+2pDCbIG3IW9NoJT090DVwxdgz5DMpqyZo5tixe5B5pWaLsm1VdHqY8lXffv+1x8
OLZQWx18lVKVf2s6L3mC3yTv1vIoBYNQiiHg/rQvRPlFZXVexNFYNO8yNv7dhKsn8Cfts6/phSk6
BfvZQ1Rr5t1Zg2uwnUAthLNNVnVF+NbGLu9U+Z3ga9rY4xGhYs/fRDCiAnGufOtn4gxFEFdPZn4/
DjNmeJRRYR3JPqw14K1aaUXbxp5JOaHLoGmPnnlAA0UdirCJTWAR0ASiby7uPbql+5L4T06okU19
bp4Ty3nGG7m3vX7Yt3PeBrVaXED62PNAmVJB3zoR7U7sp1Vg1vpD6c03dorYpsYXe0zy6WyABw9q
OLjE91ZYY2u60ZikuikJzaR8WDLji9mUsXHJjZknJHZYefQsoQs9wk9JxI829uUj92bySSKaKD6D
/jVoepdTKIVEWCdIy++TAsQFXnxAWUDKBkn2p1Yc9SVrD4ap7pn8d0xxEE+nqc6uAVfXbs5pVKsm
41osyRab1BuJ93249BlvcDbgj+pJ1Wn6+JWdiBkYnNT4CbdxkyfHpaOlOmufEYjvqLPUuzs7e02o
8T7pAIVZDmrDWZARjVgMFjFEiH3lxaQdEAu/ZTww7FnFV/nU9OVyJjCQOPQiVpwfHXoHK5dbx7i1
QdFt5Fy9DOuc6GoJGVZPiV2QxvSXReT6/Pov7eoY+fMz1//Fk5qXba4/c33+56f/fC9hio3tOxFc
CrxCiTB42RYLKjvNM57+9jJ//dZ/+5JeTuiSmDsj+OuHrq/Oarhmla8H/LdXWb1JwCNTdmlwLuIo
OqjMk2x41z/xz/H99TolbiJSYnzYzOtffP3nth3IDxYJvNd/fuXr879+8PqXdJ79FWMqDa8vHdN6
4hX+8Vv+/KrrG3d9GhdlTJA7BKLr0z/vqLD1cp+Y+k3Sai8RIUlMG+lVJmn9CQwOUpNwyBJEB0nz
TsUblWtULooVczIMKsmMRdeAKVQoimL2zA93cDlF4E2Gf0xNwgoFHHPZ0wkDUfKSc4dLUZNauvxJ
yQ/mpEob3LPDSLLezG2+yIkxYnwPM1OLhjSYZhTKTlm++ENzmE30LDb6YoWIGY+tvSA4tYfsToh1
ZDJDUJw1l4gseYvv8kY16c91hNHOBMikQ32uzeWLBDgiPxv7djSsvY+WBNIn+UY7AufuzAIfY74Q
ZmSi0AvIxkvXnN7NWET3wuSGmrooBEySuqmPgJgttYutiQ2gf4HaTc9VrVhTyGupf4IrV4SJafXb
xNkPzOI3JWaEKVnU1nGQUIP6vxn74gdoriqoGHGZtRtKARvFN7uXvgSDLTPGNS4n7cbMpyML20Gr
vT2NNLBIzvxl0subR+0dnY62lcZ0izRnSyw0da9HsJSdtPsaYXwYx+YO/9sHshwqh36HLpHEJ8B4
1tRFYTK2jMyt+rXIne9qNKdANfP36BZwXzOLG7dZqU0qWQNBIhWhWt5jaTxXOdvbmjsZ5vyaOMy3
QdAFnQjDJs8IbXCyxaVpH8bV+VDqEA+9lgF6miw1uiNv3wh8rDDToijRg3amM2CZMFiHnrupyik3
BlfXj/1o+ZtFG96bkew018qex4h9hVOnW4Y9HwtIZBppLuMouCCBHPIfM4saZME1KgyUj544I346
I0gsqGi0OBuiESGdMJVH/XnHbQyAEeIFu9c0dMs2B9/4hAVED3CwbWZkmCWnznkdSUyFoeoABcyb
XT/v+FfGTORAYXqtLv3iv+IeOYGQ/CqmBOwaU0srBn48YSe19dxCy+OSXrRqnpza7TZ/Ux/e/5WL
8H/KgezfpOw7rFSoE/8eFcIc1zFgIVh4o9gqoevj3/9mVoojBKDJQHOKbApzUyjNP7kZk4VEz+9z
gbojsaJnGz94qBUleeZ9HO1A8jv7Yqj0rWYekeAT5o6XBMLVcKMXmv9gTfNmit3iknEiVG73xK1A
/ocDv7qo/pbzcD1wR3A6EHJiOvT9//nAl6RsnZke7ZFBcHbUHBu5Bu28zQRZkKwAsmC71GOmn8cX
O40JizbJCfzf37x/JbCvx0D/g/9WKaTHLu+fjyFpktSZ4gL279DPF4z/x0xP4yM7P33rgzg+VOBB
Aa48eaBaz8kgTqCyISL+B1j+v4YHXY8DELSPTU4g7XVW1ebfPsSsmmerzVyJ5zbCkQOz6Li6wDvB
TXDs0ne1YMescudZ92RzhqeAGptmi6pxJUeddlZ+39yyod9cIcwSwQzrVc6KrmOotiS3aRSh+jki
rDmybMAxI/ptrTMQtjMPJ0OiCUrsoWGF+crxlDpMEBYyv3Jvrw/J+lWfL+//+9v/b87d1WJn6SD+
1uQkdz23//ZnD6L3SNyO5dHRDaDsoLbC1CcNUZfursawHVsLBI1mpLaEJ2Ab9ZGMdeb7+cK2fbot
C0nUuBitg24X6givGIKOxNbR1pHawwYzDoMxPg0RqKbrkf+/Fj6fAcBWXfW7/2ep81W+/EcH/f+X
PPo/2T8BQQ7tv2qj/9n9KXzcga7hrHeuP8Jo+79cF+2zw2X4D2W0Jf7L0XWd24RLBY+akzPkf5TR
DqJpyxAuPyA8VFbW/50y2lgzlf52P4J97uJTFdiJkY6ajIX/+WRsdSdthkbGJyBYW8+S9IbKfp9J
g3CK2OjhruYkm2TR/vrs+oDyKWyFSA9izuqj0r+vTurrgwcnBujH6qwWVPtb0S93WVIEnKQ0vPrc
OSAj++xFFNNSKdtbnYFwbBa/nA4hJLfGs4BlnCga9vM6H2jRLPK/p7d0JAI5GZAQBv0CBDGBLixJ
Ei5jdP9kc5cUeeGss7B5w/KkyHfe18tyMwxUz07m+MdIE7RBvWJE6RIgLW42HRFbAf17dGRwDS9Z
Fjqje1onNG9iOpUg8bD05YQe8D+X0Q/8gw4Ezohgb6q1BIdTR2uPzHQ0Ncz9t4Y3lwEycmdjDtN4
MuyIqWlUq3DSMDn10jcP8VG1erQZG/RaXjPuDC3x6Qpk26S7shCxHSo57XWA6ZOMv3S0e5uhxQQy
1eKXaTzDBsEkMpdGiN80CzuHcRCLpLZZPEZ9ldXIMF+bsbV6oR2ICDyy29Az5t1K9TcRfBMa9NtJ
3ccM8eixR8OQKAuMkumin5b3Xj0fez2l3eyAwwV0sLUQxejGoPbESHYe+BJJ9zkJhQtVEa3CaqWt
A4K+o/MYsZ+JDRmFjFzuXc3VKb0x3vpZhwqEEXoClHIDjLXduAvvRxZlsPLSgdzOUZ0oWU5FBdd8
WL46Yzc146/Jh8BIlCelo9NjxGrzAEcsQ4Iqf7JHH/sxNsOqxPrT9PRWfBmLDTftKVxccEgenjtM
RS1QWg2nUqzlp2V6IPIhPuQ16oTMtZ79ooV90IMgVd559YFhpXNvXMx8N9I2f6mloDOG7jIYdT5e
zdbuE8VhUjkwp9kDtePEyenlum0HzHdwaW1nCiWTRaSErBkEAniYjwxmkjBr9YdlgTZepUb87GkE
EsOy2xqNiTIqF2zN+l67CIM3M8MBTCviYxpshgQ4xrf52n3QnTIki8Egu5rgP4ozqeXVHhZdfCo7
egn5wxznPkcgSMZgfoOKwn6hk8HRG/aJ+PpiWwGZChQNe83Qt71pto+OTE0+tGYb91xnHvK/I8P+
GawjblbP+s4jvfgEBt81NpTR4mTNzFR0tMyWvlDee89yKT/0coBrlCSQMpIIe0P1KEkV2FVWd/DN
EnCZBlPDcCyav/OeDU2xsxms7PESgmfi04s1GJNCIZCKK3ots7HTmYCpBC82CeJkCXPxNPgU+rnT
9pCrVLsfFnlvTs7OsJ2dYw1Ut/SG2Bavgw6DrHTSNQ61azAuWH2+taBdDQkM7KPc1XlBawNSvWEC
Qsnj7GzoyQUlVxVa2yQxx7tifuk7bdnbdVtsNe9gFJp8Mvnxc0rotxDeh6u8I17rJtA197YqrPup
4ETGbaZuasP+IZjzJUtV7x0yiLe3Sa3YuvP1xrOBr8jkJRmRGAxZG+8kHOBIp/lP0IxcITAISvqt
KOGP5YOGrbOgc1HY92wDlovqundNxW+plaGptqo5XLqmOraRt0OIGDC6/4FegB69k+8QPkPXWuZQ
4uLC0iy+JA0vRgFRkeDtppAL6cz/jnN1GjB1R+SP3xkISTYjIyFaSJQF7USYYj0vcWAIJOURaqFt
A9Z1A6WK6JUGEyGjlh7d9TZ3R+RoycFeKOmsXL9ZFudiJlHN7K6uw2zoflgFY/TK938ljfU+APo/
GiXCfYZfF302EyhdS0MisKj35tiuzfE0KLm1BXPiHGNa3lhQ568ZijJjh+UQKbc7iKIiADmJz6Y0
b+jAmKxEqKoTmmhNOfY7LytORovCK0+M+xaniRkdUjCR+5qpKqJ0qiI4WndUaP3y6k4UrVEHItpb
vO9xRrFisETgFLmNx+a+cWVzSCsoxyr5mZZeSkIu3eZKgz4Wz29un3lhO3tILLyJL2CgWvby1SYt
10tLm6LTkazVtJM2tZHZmzbJx0Mmxt/zVFWhnlnnsfNnOHEwJtOp2apy0UIy7ZsjS8uDsJ6aqrK/
3fHVSfL33sXhMia+jaSOVdNC3bDNxfir9wv1UKbqkWGtBxGYYqY0/ZtuoVK2dPGZrDie7Izm4SSq
KZiopNupQJYV6SfdkRDM8xpYivQDOA5iQxxVvemV+lnYb7KQ8knEJS7wjrtKcTf7aN/EMpNd5YtX
s3sYQHSFDhwWyCRDjfN0pk78oUOF1X1sM9JDijPjvhZVkd0ZccyNGYpDT09x5+qrygoGMbmneiir
5lMDDxqaueFsYU5HO0G1vWWbboaxM70wzHhPMN4DV6CcHpEJcn58Vh6w8Ur0H4DfPQKfJREaujtu
+zyFg1jtXHMqufjJ9rV1gh30GGzinCD2Rn70brr4jm1H+6Ypip7FFl3YAlkILI8ZA8oQoH1MQZGR
kHE8+nloj+qI7de8r/SxOMqSj9VtGAKWazc9dbPAwdjkZJ062RbGUFcxLMlAr+0LNht5sw5BOwZY
rLUXGxK/BySD3IEqPgkjpwgzx2CSfn2LgqHZJHZ3aFoJ1g416s6txCtdh3czYbA1d2UoTIaOUwb8
pcrMn/GsAmbed1pXM4sxoCHXeg4PmPs57JyjO2iPlDn3I6fR1gZx03Zcxkmn/SQn07RG7dkX6QW7
q0RQ39+RUpn3S3/yk2QO4wQGbzcv71nNxWsZSKWkTOkKl907q469K7FrBJPHYubauB5ascDOWOjQ
mTpKTuHJSyWTTYdVmRZrSYoVAx9R6aeyz8ed0Mpup5x1mN59Am2mlTK7yam19V9Jzz4DniEpL026
t125A2OrM1X2xNHG8RvaBZH2DajErYs38R74MMp0O3+ZmPCu/Qd96xoiumMysoS9jznYXdFgGMeR
d7BX2Mbvmm6+c5TztvMJ/CWxSb52NhZ/199bWKj3A8EjTluVlI0iBjxlpycur7WVPRYbzFxkIZfR
FjEOeu6CEfzombcWtjSI/wmrYC01xv8ZO1KAfw9VbdA1oeMliLPKCp1AeTiGLTmZdLnorgKE75Sp
U9sBJfYT40ZMUR6A4SNI268ODjJSIEveebCfOT+NsBpFupkdkQU4H06aKjATj4N+ZPHmzDD7AFh+
H0IHK9maHZi+xTe+Sc5oMTRsYDTjFxi4Lix0NHBMWoPpakHOxmMjCW8vFQHhkON3NXYb1pwYjDrZ
8SYCRwzCSwi4jenheuvMXX+jie5i1tbnZHCuJGTRLH5BZklmf5YeNosZv9AzTXERGBANMD/ytGHq
syHso2CRF6wgvn+fDmxOZ9s+9lwcZH3BGUvz6km0VokkPlluR7Hev3OfZAarVnvXaSFxjNVjY9q0
ZTP8xoCfXwvZnQhMw83cEObOdgRXnCjPac+G3bbjbjs3QdM8aGIkTLB0Y3KZljX0bqEwaFL49u69
To2xjbSWuQYfeZFy5y7qJOIkrF5VUzjnJUouZrG81ZrVsQhr1o0+BtIIGq+rDh4ETcbINij3NFsz
XdkNY27A/ZT9mFJc13mM5tSZwGDkvnFj6b0DS7m++EArQt0vnMDxZ2b3OSO1oTk7Caq6rrmVk9OE
WWfuaatQf7joaMGJvCEAZ1eNPXSGWHFsRfWESzsK9Rigf48ajNQb53bMFnzeWbu3XF6cqb3hGY9A
Iz+6xD8asfsxVxWN0SxGQ1UhsK4MuU0RJmwnHR+BTw6JApa/mEnMkZ7hMtOF1vlDyK3d2nLhNOu6
cJGfyHnmUwsXIaKCoXB4bz0r3XcGy6rRK4KZu5+Q162HXC9uWlz6G/ZLR7Mnfq6tS+dk2fVBnmJs
E/tYqp+263ln9I3DdiWkp/h6nrRUfYPRaXDFAthKtEeFJPQ1tp1in8TfHQneO2Ct0+0CPZy5LfTV
02JNDdiPD5+eCc2si8Aqf8Zph+oTuix7VyAxLajQZnlXfGpfc4pUbMrK3zIUKSHaLrMfR+joKhr0
P73LNR17zcZQhrHLcZXQG93R0edUArsnRpT4rSGPrZMcam+QcBIAtDLJ/mk4jBRHzaBB6nBnbFT3
ImscEHYNDYWLNC5bPzBmzqPFf3Tj4baUsP+gwLMOuN6xsvR5TyjIoyZwFPuTb30VqR0SHh4mqVZ+
GylcaKVzaddNww63RD1ScCVTA4cEdzKrJFxVJpe2N/JnsKvcoG3+/lrX2pM5gaLUjAh7immHbSnY
K/O+bA2u7mChfY3qS6/2mYtgbe4utUOTKUGqRbkv90JgBswgXHcFy+pc9RcM/R9mXdxPwhhuFQLi
XWIQ8I3Od5tX5bqx6uDsWiWXo74wBkBfHXfzg6HMcYsN4bUAC7dzKO4nXAe71p4RhzCCnFTt7Ohu
T3uStPDdOMYb9uMsjKNxPGq5McKV+9l54JJtt/idoiuJ2zQ560pdDIptdpkZsRD47o6Ezjz7me7c
tFa/BHG2Tr9NGCfsC25LY2QzVjRkBKEUO4LpO9d19wsZmBMidApRyKNH5M1OTS0PM4+MDzAnZeCX
dXNu0ngLVf4VbFAS+twHdhNRzztdKP2MLKLtmToC5K4wWKDqz13CNSyxSbrkrXXI3SKCM+VmajzF
Pf6LTrknJjw4h1yXvQ7RaclKq5YcGx+b+tUl+ks3SevokpvUyhsREQLS15QwIpSbTouDXHEzqf0B
G42RPVqzdWNYc7MbgRGF9CAwsEYoTPSprG5E1p1Q8aGEyATFeaU3yI2ZNNe9sXHs8sWokl+LwcsV
Jgkb2CS2+cQIwku/DIMIhj7qbyVDJgirXG1IPHWUtrV15+Ox4HZ0cGbX2ZRs3hr3KvXiTyglY/q6
EW8O/YG4JmNBzTWWhPaiec8JZKQQzR8qMn24Lx3DODVCM07cp9xic31O3rF5un51fagRKw7QRz2n
Qw+tPTRthdxgTb27PjR2o5+q9eH6lJs3KE1jzLf444xTvT7E+WixHLXxneM46d6wYnS0uX+P9yc6
Xn9btx7C9aFGg3FSpIj94yBEL0gZAqUbTmuYnlofrl/9u6fdCEK61Lqjux6gWLP6OverEqV+vD65
fntaCfOZan+JVmfujroMneXCxmk92OtXpkouwKS1HeHCZvHXv2oMfTnt5REumnEicg5h0vqVmZbW
Vjf0bGsNqXdCyqDW6ZsLKSW+73u8mG5vWAFpYT1ytDJsuPGcqvXh+pVPf+6vr6Bt1Nef6NkAGKHR
YilyRvQ47Gb7Ez2T/mR2csCBSZwRkwWk4IR/DUg4+P+mqaMA5WNCTQlgQcmgKht1WhB+/vUwoZvL
eW/+55uKFYWzhBEJte691mbjKRKuYhvJV/768Od7Jbt1OPvp1pmi8dQT0fHXQ64pDHJe8jxBzYGg
pD9KWGtYgmBZqpjJfD2oJDAmqJd/HvSVysgmuz6hPRwDT8gOsa2THHW/AYmrZfVhZnk+5UPenFz2
6JzQ6KasVmv4hNBpsvFClrg+1TKhB4x0V4UdHcK0cAjd4Eo86s4HQ6jxJFDD75s4uZ3Mioit9eH6
fa/K0FtmicJR5y02mn+44Nt5HtTJRyV7anIfAY6W9dgAiw89PQPDHk7ZZOfdoU7S4aS5XooqagRI
Kev+9Ochxw9+ysBd7aqpfLh+n9+fnggFSMVCqIHUzQ5m7tCd6lLEdPEAv844HYj1c08mSA3MBTEe
kc7pT38eyvWXrmEBOXd7/uXeXF9BR4xBChAv2KxHMcy5YA+9Pm+1mfy53G0RVlTPlc15B9QFYyV2
Dulym3RH1KGCMqksAVd5cqp2cf/qo0ZmKgo1KNatTwUZkPzWkb7IQixDQ3fWTc3jmGnnCBeh17ox
4/VVM07s3caGTrYdqwalix19eG71ION2r4SydwR2PzWm/zYX5Qg5ageEG05vg259BpBh6U1/jnsL
mITjfKfaEwCTJiTshAgF23udbXlrpla+G9itYyQZ/V0xfxckNew9ruNC0aWDTXWXaxbydBIvV3sM
DiOKhgMJlkbgeCfNKNKwMvNX6TEaJ9zNz7Ap9YO/ipckYq02f6pqQnNk0f9mSzccB5tdqZa9Jhmp
H07K/RLVbD7bAYm4MITWdjkTyQ12JQU00R0uacXLepoHlUJiEJ8wHxTABndpS4ZxPqqN6EkiG8zv
FSePVpt6wkGwkRrahyU4L6rZcbmqAI9GUxSoET284ztfWv7aFe4S2K2jbfycgsvw6s3gkJVaje6x
81OmcCl64Awk3NktW+KX1KtfqrNqq/nUVJRnWA1MhFfNcN8N6Ag186XBulENbJZJzHkjR+9ZAzAE
2GutMku116EzQF7A1UYcRPUBv7DfQJ3Z5aeibN8SOx/wPTn0NjTjyIj9YzBZVV3HcMOqnIyjHF/T
fmyf6WRtHGNk/odG3s/hLDVR/jBJ0j9gtuxsl/Wt8fUpdPXhXdke272GBlTvfDGwyX84avhA+onx
yY1/9IubbOpF8xEr8GFockAjNZY/eMPfjDwNvdxFsQlK2SUeTSrjG93pU4K8YnW6SRndL5E7EyJB
39PX7X3v0wChLbECX5N9i/YvKyyPOzga8SGtfFDrzqUcD5HA60yWntiblQtCBfb+tpUt+r9J/sKE
Ym9MNuTMFtbumnpYGiSkupEhAB6o7ETtbvSKWB0rbQKz81+oEMhJxpJNoAntlu6TXsHnOAEBkys6
ClcSxZLJUhIn1T1KPbB6dScOpsc0ZI5fVMvgvcOGgagMwFhXxjeFft8+LgZ/eEZqLlvwj8X0egQC
s05BqmiENhigKlDiZkZQm4G2pD1zaXF22dZdOhcD2nr7wwIicyiHx6rAjTqZ06vQC2snVf8ZaUMe
aLbIqe05zbo0pnORsvGpSOuNyw/JB0MdbgeVjK1dinp6O1AxdqSxtmWDRn+GP4XAmSFUET0DIUck
jgt1p7vgf3Q7PnNxbdZRRo6iIrS8Od+qwj1CBqiRryFxcQGdPVr3NWL+wAT4s7a2Ynox5kk03tdq
hrpdGceU5/alNmrMsmmEjYxW34zhAxXN52x55HzVpNzohETJBFlSnOsPeiTe/5u981iuHNmy7L/0
HK+hxaAnVwtqBhkkJzAGIwNaKwe+vpc7M/PGo2VV2ZvXBAZcLSDcz9l7bSyjbxS2YahHmJam+lj7
RnTm3IpYtye3lC/b9u5WE0ztYtxYG0J2VwPX3r2D9FLaw77FNFaYmvzEEJ2swhgkxyiQeXL1whBs
uTs/1z4cu0BmOuq/2gkg4CKM5yqZll1sSi6NXXxzJ0yEAEqAlYXZsPXswN0VodAJTKD+jNiec5a0
JFHoXpGqUd8KDRPOfKpj92nKevNOJ9Zz21XseSGS4mNVddE609z3squeStIOMo8cuaxBLh35zaFx
7HJdZpClk7k8wMAMVmYepVucoVsr4nKKawS0fDzu/H6+Ihn5hhMWgOuEyY1JOucqpzTJ5PImzp+d
UZL62ubZXNLwpFn4uoIIdaCRLM/T6FebPsTROi/OkQQi0PMWJVoTxE87H3IpT02C56xOAIv7trk3
EG5SDyn285xcj1mEnJnhpw1mzovnHxEoxz2BJdkqH91vDDy/67GlUcYSe6Bw06mKWwSJPeKrIiJA
uu22evB9IHwW6lSOX1pMz0TPUU32TvpkMRmpCTvyZo8kPwOKpL63zRldOf0YJnxOzVS5eq/y8XtD
50DyUdB4je9JNZEw0BoPmH4IRDY1mGlhuy6qaLoa9eG2K/I/KAbao4sPHMHeaEuWRUgdtwNteUzl
beoOtUikoLCQeAvIk8/UNbE1LIxS1KJpGJwOnHT9IqYsNmN3TFz7ZgLGrwftQ1GAF0WRDiLllI/4
E9yKkYFaQKYZPtfmsCeXLzYSLHahAboBL2WwSmqT1sqgjec5tKM9iru1j4FhSPRom1CTpE1nhxva
n7BdaflFZAqePJtwyTzMroucC08Q1Lex4DIepIZvrMupFSeCl4+Zrs+M8BNxEsGEJo/C7SavGL9y
kewYoTCIdTHWmmlXHdXthFibe2i8TOr9+4by/XYZaE8m2cMU9i7+oyI4WdiZT+5I6IiTnGpzoFJY
gOYCF5kePZ+BkNsRmgrecALoXpUrNKj1lvzc4ky6fH5e8Auf7WiiIsL0KppJoV5Nbh9gXMNjDIKY
Y8/sUvQtDDtduVBrakF8AlMqtYpktjohZ4a1ei6RGJ6FxCXlqfFHPdjEYvsc24RG18ysCFmiWvYz
0qF29JoLKr4C7KE2merVK1frD+1Mlor6tzwyDD//LaKQpj3G+6tGeM3Gx2uyXto02yB5IR80THB9
MPlbJ/KtbFFSO4/K1cLPgdDwXi8SbW/ZbkGoj4N7gGHgZWGVDBU7M6GUq1bVPTMGzNBkvgDkojjH
PSLTsUxuyrh+VbzzWQccuM4SoqTKiQQPhWFRt/Vudz1C5eBAZebnLgQYCXOkocrerZjsao1+dH8c
yudJhpSrePJijDgSiJ5WpPggAa0gF5BIiBhf7CwnHLLfBFZBbUbOIr6w8Z1UmLg3KuBJU5eczVHb
pyV1avys1sqinnfSyCWDOX9KgpZaniU8/PaNT7VZDush3RO34LXsY3KorxZeMgQ7E14K9AHz1Cf+
H9VMlZTL+tGjNT9YMcNwhnDEzIXrSg7DvajzmLYIygZS00HDLgFg0MGgGWrAq4YLR9MscalcFgFS
yoMRMYUlWjtf8bsWW/xAvwCB1yctjZnKyEXw95rVBM7a8thHAeb5O5EMN5kV9p8CEheyC8EP9YHQ
1MXTiZ7RzUPv2utRzhELOVsM8EoCxKOOq/6ISLJs8mVGzdG1HrGftK+pfPQTTXyG5HWFacdvSzSn
KHh7WkAUKAuh7RcHUn+ULtRTg/rwKRCO6mrcD7ONyxp1cVGHD2EQlDv1PpOi3kwK3wOV0t6F1nTf
+wvtHA+ucoEyzHLsng87kuxtYixREyENrMOYVS/Kso/0FKlL4jBuxdS2/hJioDZtHP17vAbHXk7y
Rjwym9DSIQGQ9E4sjJwLBnEDrtsemIF0UJr6mMaTP1IUtoYfrjk/pKRA7FRAAKjE+gR+AjSB2haQ
vvdJm/BbjNVw9nKCFWvKCkqCIwifwREgP2Il988WhxSuqBGVLyeHuHnBd9QeVdwCij8mRJbZX3sd
f+GoUgZU4EAD5HRpgl3Em1T6DOTFPaiXnIlX+PPV1baeYQGR702rqsFrxsLsBB/0sj2CC16X9nKv
DdlbHIFen0BidePMbmbKvYs9xFjW8YKJXMiTi7yttV2iOehCbNQ3tr0BNbP6HVKte1mwa29SARdF
TtLjqxIxzskj1OTUd926mmCHqWNTfcRxJr6GqCH6dHJa3hb+jxA5fi7LI10zR3tiI27VFrF0P0dR
jFtvCatTSPtwbcdhtza8kUNFfix1vKhNtVjkHdMQDwDUqbmrTy5mrYGBa15BVb2J7Bx1Cf9u6jny
X5mh21q7DBIVodvDcSwKgrQsDvkCMyEV9BeuYBqskyJH0tyCytnlTf1oDbg9gmy4MUqD6UMUAvuS
6bbUWlZwrq7HRL9jBEExkjOXmfcEBI5ohpMGuh5y1GHfGDHHoHYyK35Vsx4/auqaKzjnD35tvqS9
+woO/6apjWDDjBK5OJnW/NrOVZ4uyx4KJpdzvT+BUjh3Xv3qwOjeNI7+AMQNRjZa8fUcozHoirco
MLEBjGaxzYnXKKHDUinRV6PlZ/smsZ+G+Ww14XWFYLMynWmTmMMNuNi3qss5z9rXw4SzFevPB+X4
7mGkVjkSDdWKeH7IQ/3QMx5DForWfC6PXqP1G+INwIfn7jVl+jufZL2Vd294sGxrGziIcJNbIa2K
SY0ty5+xUptMjBmkMlDpJ0BB1QdH5AKjjkGZmZB3aOrY1LrUbImkRv5At6A8z41DSKlVHiHKDD8q
/c7xQvsjDvFnMz/hKl8xRh0B9PqT/hzZ2m1A4WKbGhlY8an/ZQSM65t4vBcN5JWu0oKdOhgpOhNv
B9RelK2+n1x/r6JQgtYkklatZiIyj818RIaAomDujVsjX7RdEJfBSRQglv9X66mAuv8jCtfz4db+
399hu39CdCXN9//9n+uq7N/LL0Ef6jl/YnAN3f6XblquZ+uGQUvBhmv7JwYXTee/8JYYcBKBEpuG
zjv9ScO1A4SdeF90E9yxYyNT+Fvzadv/sjD1BR5aUMdxXdv4jzSflsEH+DfNp+PqrsHRDkXJN30b
Dem/CZDrpcrMkOnirTtLARKjEXzx5aGEbb4qNP24lJW3S3PrXAx+us3H5A0rOPVc4RroDGKq8/F5
oPSyQ0uRbobyly9nxKQKvJp+/2DXbYqZzabFOhI4b2BEYWjAUQGmqXOq+2JyaHKaBAhWWGO/ZXP/
Y1mgMnnpAgEgJuq0tV7jTHyUJOu6AGZvc+L/7iU/Ab3fKtMymA4k6a0cl/JFbgumUbbFdNhgHHTX
LMuz5hTfSWxK9tUvxtGM89p968sWx0APmZCNZd+Ar15HYb6PeBqzJUojFMtf0PMNkAfmn8Km1civ
t0aTHh0WUuh1G3PdHMynaHwXi57dF321HQICpzoGvfA8vTPqLMYZS2jin5yxB08Y35Ig+UkS47kc
c8kR0YmR2Bhmp+91H2m7oNCKYGZb2ISY8gixN2soIU7mnvSYGKY44FRkGza6Ir65LYbhCqN/HUnh
m4YWM6oLfzNMRCni9Nuk5nwXQznCS3vblMXGrDNn09vSPmsFj1qSMPpu9bt+hGY7aGW/XrKYLNj6
kbmWzN12iGy18xdiIwgdMPN3Y0A8RrM3Ao3i0CMl7nkd+v7OSrtXqO10hBar2kInOZlBNV3VxB5B
0uJcRyeqyNtql7jM8yJ+gRzGz0RH5M3Ixwd3gSYFI0lnJMBViXEO/cJlARXlz7fNFLfnxM9p3Gna
ShSgeKmQx31ggznlNfD/PcNrQr/ggVqNc/OdWZE4WBACmN+NxzwjTxQ+anjInUb+seJGsxrQdguq
mkRSO0spVhG+sQcOteNIuS4WlErAv+hLe2/l0pfriliW1Tj3CFdusBBSO7fqd7JxUjyx5RaZQ3rT
GK3U+SzuDku8ZbonLcL/FrTpRMQyl5Xc/BWAyDrGxfCiJ1RCW8GkD0vIVlRw/K0Ws1fvRufePXTV
R0ZIzSktTfQAcVXubcuZr3Tdk6Uf8x7ODDkOLSSjOH4OY7I00eUi4Uy4ZuJrAV1VGFjpDLSkhNuK
5EF0axKFyaCwP5yGRHRMr3p761GA3JF05aOMgiTF8e0ZG3rryAZA/8WtnR1nypPMZki8xRFHpkG4
bsllxmTqvRdt+JO2pb7WF0NDnUMzl8lZN4tkZc8wD0pxbeklr51O1GmbYQDSMrGrgxZaj51BB5HJ
yM5wQEQEdX0AfLuZGRpGJQQ5g+mWkb40iOeOHn61OxTdFJ/LnrELmmYbem2b0EoM46rdLgQLbIb8
wL9WSE8qneem7Va+j8INLUCFFW72rR1n4HXoOT/5xUvm2jAison+FtIIw+e/7dFNaBFjldI+CvbZ
NgLq6QIk1SvznCXTO22zXdUN4uAMCeGJLs50Vyc/m7xCarFjNR2R8r6Q8n1DhE27iaVUDD4rxais
1sFbgeP24RoFlR1D96u2GKGjnW6XYk8w31obCLQJtICBV/4SER+ynkph7fFk32K2I91mO7TdfBS4
Y3Obfh0BGzvT1t59q3jI8vjdKZPbsrCcW82TZj4ieXErzvfpQFLFU5Js89yYN0ZK2VbQxKfCtQfL
U+10N/H3Jla6HtP3obXJIYYuosn+Qd7exqmZUdNnFlcO40Bnln5HjjVwak8JPZlTHsQdUFqJPon0
8+Um9YgOH75Jy0s95/M++cTftlH9wWJbqEimvjaSVUPhSK3RU7pbNPenhckgjS1jr4b5apKtQtDU
plpkrVsAybR/9VQeSHHzOrGfu+AWfwMm+axi2AkHlwjWKbrtlg60J1q7MZzAZ8ZghzlRb9yY/Avf
9LSbmOqdvuD6TpgfoQMki86nXQGUT66qRQc8cr3wlfDTMrVUC5UuBykfRvDft5F6YmxKwMRrTSyM
ObmMTsy7aUtxJkyX9sFKKprLNF8ic/lW+aWsw/s3i4Ohp0vyw2wPt4Rp0wKWixoMKDWd+Dh0BaKw
1shOCLDZr7ITCpc7N4q+92FxT8+/RzLCHAFtgt/7wdFCdwLFtY6KQ5uZ296Q/5xjNIS0Ro/CrXCP
qtvQc/NvUtE5Tv1TQW/gBAPFz7r5EBUAjMyS8ojw33tmdz3JHmdSVX5h1XK2mk9DPPW6W0hiwG5l
EUEZRXTvhgoCSBdLK6uDmhh55kcwSiAkSMPIjRZk+rGzioyAwpJcBJIOO1ATzFdq1eg5PbZR1W8b
a/YOGnLSpndxQIqAC3hWgLm1K864FwO08gQT+pSd7HuYMY+2Xoy4CE6x64kV5EHk04Z+hfAFsaY3
vumGXu2K3j0mU1PsdCAWRTmaaOU6fLx2RDhzmKH+VXuApQ/AL+0xWavqkHqny+LLbWY0tBR4AHEU
U1/oW1VmKboUln4NwUX9Sm2CDrpImj8uRRa1piaNX27jytju0FA+jLKLqxYL4nek0NQ206XSZnwZ
1KxlG622J1eAwA+m1Sj/jURWTtTCIvaJTpX5UmYiV7vDonH4RjYMjEY3f5kz6J85GqBnhPvJn5P4
R5zHH5qI/XndyN1byN3bl9GKl80iG8vioO4RnmiXrbqrgI1G8skIpwHxATy1z0eo+1rN3tljF6fr
jiLM5ZXGkrBSCJpipV7NksecWvt8mc+3kJ9Arf32Nmp7KIYnf2rYT/9+iFpTL/P5cS5vdXmMuq2i
3GjPGvCKIvXevtz5X26qO7685udH/Xw7df/nDeo3++1r/LaqHoWcZWEEIjKYma1W/fZj/fYiavUf
v8lvL/fb/b+tqqdeFl8+tFfYYFJIbrZzBuaN1cVnYafxuZoNgbZWN/bgwNuDuiOk04/qXz6miKQb
qZKratspnjhIOORj59HrsAhHC1ICP/dNLur/uNrVDPHQ8MqULiw6Bi3WjSWkRsCTnQDNzCkOqqeq
bbUwSHCA4kx9wxgNiu6532/qTgCeas4lndWdbYPeqztT3+hcRkmiH5Fl5LAgXFn0mlX9y+ZChKir
vvWK5hTLwNBqIj/Ul7uc2hSJzp572VY3anLPV2tfnlJNeX8gtXyjyaxStUDAQjqn3DQz/FN2yjiA
4DjkuPJFKlLk5rVaHcMYGIF6+0LdqlZ/uxXp8EvpMCBxZYIrEGNoklXz6hoLJ+OYGs+QavmxH2uq
AqkfaFuRmU+w1d8j02UeJI9btejlWspgWNJ206055z9K0o+RcHLuW8Q5s2t6s8FwUNhyQ1BLHoN1
7dc94JFoi/GnPFn9TxruxVG9IBNTchvkqxKoS/fLO7rJ9HOZgrumoFKivkeYuY+hVBGU6oSgblM/
A+de78jzLp/PlFfMERnX6vIr1ioyNpPpsfSQnE3oFMqbR11dC15GQ7e29YLMhd4xD7HlH9yC9amF
4Wz1Nsd3CG6KYiy2Xvgr3nEOrQcBWJIhgdj0eO6IWRQHIYv+xABCsEoMCUzGHrlRnzLI+psWOCka
IV5ffa7QTcSxN28Xq+wZvVn3nw/8+69Vm+UwfBAQnKwwc1CYqVIKqepdBtkuIxmaF+tiph5qO1N1
baM41FU25xZhyvrWgNsKqqkvp+tB9+yDEhP5stI7SW0R+8KvOi4AEcjfX/0TnXrpvzfVHYlv/ZGP
YALnoN1gsgo4SjwLIY8EyvtjiMGGa6kkIal/Ru3WkT7C/2V6EVb25y6r7lMLNNh/HiqXf/Jzh5aH
j/rqXzbV49Rt6t7/8qX6chSMPa7VIaf2NfVh1GahyluXbbX2eeOSUMbTIy///L8ibXAPOuQg9RD1
tsw1OZLVqlCH2ueqOr7Vp2Hk99cBmKk3unzkqC59MjztKy0Yvik0vsLpx1qoLVt1mFA2qTBqzfZb
1Zb1HqF2hiMmJuZLPfxzlbTG4gQrgzwThk/yxKD2VLV2WVxum4k+2M2Gua2NhLbmX+ck9Z3Uoh8N
LvlqFckI41O1+vnp60VACbgWFUzjkfWumsEtiKBgcJzTs3TtH776IHZ7QuutH9WPTUAPh7F8q8tv
f7mNnARm5pGjrS4PVm952bw8V61d/sbLHZfX+/LcpHwaMiSP6rdQJ87Bi9vyoLbVkccvnvVntf35
4ReyQKWRUyfNkPOp+k8v+1awvEeaRj1W/fA4p2cOJf6DeBgYyqgd8Z9X1Ut8nqoEtuWDX+cbwLjE
KMiFOpeoTbWmbrtsqttcOQr+jx6nHjyFHxN05KN6f/X5KNqz216OmdCXu/HnzqxuDcxyWNDh/HXc
qbXPR6nVr9u/vepvj/r6Bl+fpRmIj3toC4sOeVD+huoyotbUc//ptstD1L2mGgWq1ctC/R+XTbWm
nvdfvmpt+PwCl6eoB355q3+67curfnmnSJ7whb5tZZtGHbM9lQRrbBBq/J2fodYW36rRB8rryZd7
LrfBveYQV9tN/3eoxufpVr345aGfr3EJ1UDGMK4M+g+fe7S7lIjrLgfKb9ufq+q4+u1Wta0er46z
P58J7E4g5hiyxaCkx+C4+cDK5pq6fZeT5MfkqQdsWQd7PDA6sbtPmSiJGOgG/YnTiZAyLe+eujAg
12VongDpHO0GK+BCk/i1tMuD21jak2mEwR15Gs3GDMdHkLOYfVsR4JLI4iOUIKG7zkMpUlrfFjZ/
ujn11TIn5caLenIx7OIKDRblRuokaE5Q/vhj0ewnj2odbMudps5xX7/w5+lkgQg4yEmVtDTg5edH
U5dXdWG9LACK/XW1/e2Sq1b/6eFfblOXbnXb5zv80/M+32HKgiu3w/kQM/Xj0FQLXx27l2187Exi
KJ1L+aI8fuX2JA+uzxv/8f4vT3edfoYy7NVwbORJTT298L0yvVWPHAlh3pmiuVd3zOoQ/OdVEhfJ
N8mrDyNp3TWmGvpbgA5yGEJcNm1p94k/vPJq0Gr+6AothO0BaH3BWWTvkq49ULDzThO2Q6LQHJrZ
vf3c1cmd0bpXvghurBLNkQ9GSwafmV3h0CB0HtCGfdQmeKGE0/M2Yeh/mAy0p92CJtdOygmO89Jt
BlqTsNu0DkAD6dnA45HxpTI9hDrjvteGc/vmRrGDAIKRIZHNPW9xF+U6pgHQ2dt8rlqsRGjHppgE
ygT5c4Cnd2042dngOnvgEi/JUTA9K8/ZaFr47A7DaxQLWFJ5AeyMXqagzkaVj9jLkkL4qvFlBT6c
W/LpIHx7QlhUCuYb8C1UKVwro2RYVLswi9YkD+TbuWaNpiginGnZR12XruwuJFrUrn5qRnBrkwvA
VLnfu7X2q9DEvC0go27rmE+eO885wZZQn5iC15V3BwryHU9ndICZsKZMgGYu/D64zb2Prw4gekPq
Ob/qmJPT8MMKyv5mmPsF3C0A29TZeW3obvOi/Dn79dHRxnpVxULsmCQP2zkr75pKD26Z9314pHCc
dGKQCB5BESzbosaEPCrHkLH2ZIJNWe8aLCrd4qY7MywLHL15R+Um3zJto3LexaQgl+4hb23EISN6
QKGTMUUyYqrTRCCovdgZNZERgMfK0dcAjFC2MEg+szD+rbTSekSM7Z+dubHBf8GcbLqnYCFb1fOi
AKFl8JiKfl7L8Ob71BleYhBPGaKPbxX+XAAYxjekVDAUiapYcYJKz4MRXpdLW+7IzaagjadI9qXP
Zess23I0nPUw2Xs/aN4BnpMKALUQuZlNcAKgsivPQKzmauXr4N/gs51JLu47xOVEllHTeypm453Z
J7NK3O67sgMcFLYhX1dQdC4pMw0aaGhj/OFOOfnmNv6CXHOvGgsutYeZWZ79oZ5w1qPeRMd3nZOV
0M95edUO0T62jQEOGGB/60h3UdtqdfKKjFTsMgqszdAeYGP2JD/mLr2KwGgR0XY/C9zg29xwv9k4
2RaYEF5txD9mS/+R1oL05zFLT6VTETBQGRt2OeOmn6mV02/BnTCdgyXxHyfy0byJc2do1wi2oytB
5NNhcriuVHTYBrOK9vPwR+Ql5V02ZT99YzoknV9v05Yoj7J3b2bAaia+MHPQfyxuaV5zpsioICBU
5jL0mgkw5QCv223bNC8y9WaL9IkYWUDVY5ceHSkEyYb4fenRnQVWfgoq5NJtaL9UO7NCR5a53Zs7
0UpI55do8ubV0ptX7mS+af4QbCsNzScJ1Xr3MNcfZePE96letKu6LsUu6lqKTcSZjMRfXHk+BkXD
nV5Nz2UnoUY8J0nELu19GGHskq5REMIigZWu1W69yqjXlu59I1ejkCnzQKNCgVuOFJ+g44wBf5gQ
A+Ceo+wl5nVB+m4d/CwotRVi2sO3Wq7yuLz3muxMORYVuXfM8IRlRv49SLgajiu/bNn9tFZ79CPe
IyDe0qTuWTrO3raye9PHXNImN1z+XCdDq954x4j/cTs3jwT+mB+I6+qx+j6htMC6TpLLlIfrLueH
1Iz8PKWYF1rebhPNz6Yzfg8mQKg5oS5wB/lTyuGucIrzhPNma2kLDIa6iA++jQ/AaDhqB9uy+NDO
8+hU+qkJySqifZR7W9RvzwAuUUsE3oQI3zz7Ld5qOw3vzTDZVm2Y7vyh7zYEAp/bXBbJdY0foTKu
/SE54A8TN7bQQoh1HVeImetSESHkowEwXzGewSLZ/rIr2z00oBh7cqiXECTgaBH3lQC46+2lPPYt
URD4nsnFtpkRuqYNE8/gKI8AvALynidEVe5ubqbpOqx7cploMu9qmjZJULeHZEBSluInlGd+jsCB
NJOcwu4O9xhnF8+mKSvsHqrCa93TMzVbWkGRHv3Sov6DFKkFoMr9OFkowauRFLIWiI2dIYxHdlc6
cXRtLeaTo9ew3uYsO5MacrLm96artZvcXNhd4vx60jSMQkU6HmnKrSoHSS5SexlAsadQgBKmGKGN
jwUBY2139iMP1Tb1/u+cH88uSU+EsrGjlrONLY+TlWkQVmZ52QOV+Q3A6WSv84ttMitI91YWv6VG
dQOLCStGN8EebauF9Dvz2tTGu6VPz0HL6W0I3R/MmPddQ7E2SK5piptrJ3URjWdcjbQwujZds14P
jX8T6nCprRYaIhQ5ulWuuHcSB/JyDo0GRe7BKsvgfDJqesGCw/Gsa085OO5VJI3qQYgg0Eq+693k
b/P3MKSrry14nwVKY5SLA+C35xEw0XrE05dnCYAl917M1p7GXIaSbEfxyEJnP18FE4d44wfbDtAl
4d7DG91tDtCQF6rgkBxCoH9OYTyBNu/vQaUDUapMsjWm45DzC0El2rWBSM+GjvZYC7dtfTWJLniI
kmg6tvaqSqAOmC70TQ905lQQFBMG0yElFjejo5zjekhJRphd8rL6yco2XKFOZhH06ylnPA5tdFua
kHPrvhBbYJCc+pbkcTBnFPqFy2i60ehhlsEMybmLcGgSL9Y1zVNo3HkLmbwTQBnvzQqWbD1bI6Ut
/EcW3POt7gpZ+HEcelEkQTjJLHdbTTYth7MzmlDis7OtvcxT5u0ja+Koz7UWj2/3iteLcBJr+YZk
DeItHvmyzCbU5ZCeuHbtSxNl++Q7r/gjMDvV50nLURMLjKiWKGD4j9Oz38UHwyubY5+2Yu1CfuQi
dyQ6R6OzHw/HwJ3BrEYMmJPYQzh/Fw9I0hk31UG0sYx6ecBgTmU4jzV7tUQ64UShuAknYleIgNua
MPJWLQjQmTSa0Yl/1uWCU84Lt/Rr+SUSYxcfKw9PClE4t0uhb2rrEZWEv+oSR4N3wgU1dyVhFMRB
Uy8nrkp0goeGQzAhmbToXkbUF3hb6lffGY8gnYyVThZzEMS/ijl7RWmCL5a6xFVb9g+I74Nd7IzO
QUT+j7jIvjmFjNmJUn3Ve5hauhw/e2Q4j7H3vWD+Qzsaf0Gbk4Ri1MlV4Vx72psXxc0+GZg7zNpZ
m5bpCtX+mz5rLiQlxi1Rz1CMs2lVZvFDMnZnr1oAeYQRXXtcyMnMSbkxkWjOhkfXd4JhPWCuKu5M
y0qP0zQ8+7P/q21cY10X4MqDseEKNV+PyAAycK1rF8/EniSqKZYSdQICjol2F5gu4QYu12LfhNTj
yYQOIDyk2rlHswvgyDoOcwYSBp3wJPirDuS/2DvtpZxMBupVUJ3NhGZ64SMWdezHhLOD5x85oz8V
i78B9jaf9fYuE5CA82L6WAh2gbEGFAYJEOrodF3Y1z18hA0sMxwTY7Br4Iu60tlQOQFUrTC80bvR
XEUN3lmG3Qn9ziUZpn2ZNu1GJ0NsFSU6qWaWPANx8rO66W4Q4hQwDmJUle+XbkYxGEbs98HEIDzT
95oAfW71+kGkhX0PGgfRC43Q+IBX+BW+yU3nRO1NX2LOF3GrIRQ1dgALCCOt65ueCTS4xxLcndjZ
vZyaTARpzv5bUZg0CElYWNcuxHNirZ5ifE4zIwAR1g+pR3y0YaN1Raw5WIQKojNNNzkc1xzERkRb
cpMSS410/ae3RDmkp5TJghfmu9qxinVepHumDS9NhQFrQHNAVkKHa3vy1j55UytjaQ5B2RL5jZIg
8BB1z+Dp4BIjvfVOZXo36JYcocM/9sviHbjslZdQAAJ8g4B/RmUxGM5IphCYlRE/8cBeOJlw/UDn
PYrB/3B8Z3qp/OB70+YthrD8Z5Jq7iYcDNQ2HmZfi/0rt2/azDGf89b73qHsoUFqbPvIBcxWkixW
ktKh9R0kGIEuKWyig1GmBCXYxSMRmc4Gcs5aLIid0kR7KlMAYx2kmbCai60OrJq52vIdHF6z1UUO
SJT/0nVS9pyq20QtNKFQDPHOZTzQzsjxfYRp64ranRFvRs26mSxiQRo8XPt6Hkei5sjbIehrMnNj
H3nBfHCXFIsUZszWBeOR2Ax0cGVP6wie4sYjw3w7Rvcm15sdRn36MDmXXGwXTDNWOuVNxCokFizk
I1dOiK0+AhCF/tOHAzQy5Ii9bDtRKM5lkk07zYcpq3sOfYALc0/xOfevMr2BljX0zveC6VIKc4gs
RWgVTtsSCYeEbRnxrPl6XxysxNFXLW0x0eKadVOIcbg7bNz47W2fYq/LmXxwJsux+jve7OxIlSNg
p5jRzi5TvlrixV25NrPk0e/2BWjlvCjmw9yl94XrVSRMiyMHNczSEJ1v2nu3ZVgA1xUkKbiuvvbq
drxPSbhwZI567Nl0TlrUaeAxU8BoPQcceyCJwJz9o9IxTtj74l045896CnbC5KJFVB0xgx55zp0f
h6e2ehBT9+wnD7HdY9aExDNEWbUmxW0sU/fIv9FGnbsKyUYLIv48219IqREIrIaGA5rISKuCDu3H
wXNcA6+m731PcKS7R1FW7j08s46Bb2VowcgZi4Gy1iyQ04UMZozWNDfg0mYv/pXzW66JgQfllWR/
JJP7g/79Xn7EY+oObw5VLqAe+VMrJqphc39w+oi857Qg17JsN9PwYoZgjrzgKkFO71gDHrfeOf9q
SDs7hSHMKi4RDyZTkBWJqvXOjgpGR0RWOQt/aU0IGfMK7KFdfDNU3rJyBFEKFIbR4LUDl4HhaTGH
l8KITKK8POJBl/ZGh75NR6DC6eGUHSy2vNwFrfWY+rIH63rRxuhlDWK+HRryYzvQX5ukAXRdWka0
9YY0P/tG/wkg/l+O7P+kLTZ997/VFt/88aN977J/Fxd/PulPcXHg/MsybNt2JDxZRyfM6/0lLpa6
Y2zIruX5hkciPAriv8TFFuJiy/R11wpc9L7Wb+Ji/T8RExumxxv+m5jYtx0kzYRlePhDHT7av4uJ
cxyW+hzG41U52r3A1YDB8FqppEJZ6lRrl8V/flskez6Bqqr+9y/D0YvNPILTa28MqyAIXnXfVS9a
PXO0IY+OZDjNdQE3Mb8Ppcs7l35vz5z25JevMukEj6fnyq/MY7lMOH2kW9zHNk6d7shr1cSE4igv
sZZDxMRmntYNdo/3AUXtlkkURCIQsO4w7vUY1oA1LvspqL+FPmpB6WFvMbP3mNp7zO2FdLk70u/e
Suf7JD3wIWb4PB2fqQYcc+mSD6TQp5fO+Rono2m1OJlDDdVDReOYaBByGiKZ4PbsYcCfpBPflp78
gZZyLV36jvTrZxj3C+ngL6SXH8TcasbcbzC5LzD7l7wPs0Yz2zERJ+gSJEAg2QCZpASEPrwAXZID
+mTR0fxSMCL+Z50a5Lp1O0/SBlLJHejr8tlMo0PnOsPR1sZfkx1jFZ/KxwyCEj5k+AWhJBkgAo0l
2YBW9HPEH7X1/FMm2QeVpCAIyUMwDkCPakdDqjuVN4inyRACn0AQK/my889QchVGH8KCLVkLC9AF
DEHPQVQE64pB1nZsv5XgGcDu6mSC6f31nBD3NFX5XRs38Z5EgEXSHVowDyO4h8WtHLQk9b7zivul
9l+RSONZlIyIMiJ0tB1G2iOKIAFKQoCU8EFLWJIxYQXWx5g083aS/AkKEm/MU7L/z955NLfNpdv6
r5y6c3Qhh8GdkGAQk6IlyxOUbMvIOePX32dvfl/T7dNdde78TFAACVEMCHu/71rP8oMRNkVmv2Ld
BXwpqBWmCr+iFySLCKRFAuJccSjZFNolaNQTswUGN+aC3bDyUDLU6xRjEBNl1Frex0De9aaoIp37
JNjGiohETf1RDkPhJ9aH4hD2nKk5gbw2xIEmrU/ukOW+yQlJ8kpTMHZJ+fXK6r7KPduHX6lwSEf1
BoPuPZ46G6wt3jGDqjpYQ4y16G+H0S03oV2+4gUA9IIvcdsPwwhEEVBubmyYI27MmtQ8fbGepllj
MBOV1EkjE908nkJjag5VDUPVdrCBz30ZwhQLaqgZarJR9eiShwsz3EzZQ6Du17xVoopr53vW5N+j
mmBYk5TTwXSeki77VFXRArdwZzJ7sq0ZG6L5UTAbXjlM7jaDnPZbd3iBf1LmCjZG92gOhk4+cOlP
GEEfNSazeph9S6N0o2rT9yUb3iPCpPZQ38APdcWHW+G8buGbKobxxa0oq/cjv5Wi1xCIuqPifZ+0
6llcX1d4hzx+NBOTQ3H26nHadz2W5EAfgDyY6q5gWH/sgviXneZPXB43ixcSBYYhl+QJcshteIxj
pJcrIPW98aIX1UtDsPseRDVjGrQn14VD+EBuvsX53DPs1R+Sxn5MO8VjYBLV8BsxdGu9C5tfx2au
xA9OOuxGaCTc1tXjgq0A9oN5mErOCSeZUh9IvoW095wY6UuXo1nh7DKVhfxDfjHtSSkR+/c5qZCa
eawVWLTxm7XQ/Vg6os2TGkjS3GbHDGW/Hx9Chhpb8mwY4CbjfEJev+Oz/FzCwTwb+XRBa8+hodf7
vjbXYTc91FlIwSRsnb2TA3x10i+zUlWr0KkMH3vBOXTc77jHxlPDjNpNgYsHrYP9zX0qsQNsw0yn
AFE7G6tfiE0ySAee3BWdBmZIqTtvFAu+msmk7pFSRHEf1Bbscb9SCfaz9eTd9NCGVsyWQuCiDIUp
5neztY5MRPu5i9scujVDv88qt/aQPMZdOzlkcZrmtyqY1m1/BgfJzNLwsZJVfjUHGRJ664F0tl6j
fh3D9V7rI9PHNrXyi9HET5rdr2uU6Gv6BHDGF+V7b7oQ1CpNX+smAS8YpKENDYSMVK73UAR+MCjh
ISNtdNUJDb5jMqFUZntDERGnM2l/K2q6+hJ1vkExdj2DuBan1rQQF5lZ9rxJk596jsbDMg/NokdU
t0lehnzxWY/DVy5IPJrAf+m1UxmVP6tyvOdmcGpo5aywTkDRMbNHT4XUGJYEws8UK8ZfsY6gr8ib
zwiSw6oLRm6V3a85mAH8pNFL0rXVnhqKX2rhskU8/os2DbncrotIzDFPsVWhZ9M2qUNjGkZw79ti
FpaixKJ86P5aupzJG8rgMWVu2XbM9nMoiwooDs0jEbnPrHvVUeyLQcd0PU9ReaY98n2c9Kdmnk90
Qfq7aJiL0xBssdfSktKzV60zwWOlxrDrCiBrSTw/MAD/UqvkowSJx7lD2dFaUPjPAaQLm0G1YJh3
tYAVVpzICBNTC+5JNzkAgD69uGgZqiuMHUBnq4t59DDgbgp3eu9G6gZBY3wEdQCPhdcOnf4XEn8H
Kw3R5JCd0Z3Hj3P+6uoh6LHswTGXeu2oWbhJZ/uXlYHAdQ2kvIM++AEJ7evOcp54SdwAKRe9UU0e
SIDn6NTDUzrWymnoo6NaefRuIKPsTXyBgBp37Mxsr64J4uyexopRBiZ+f6gQBeSZl5HTFdDN7KEH
xOVAn9Br/UrTPuvBAz5HDXe0q695bcVraLW/PIJAEKbVu44hHeJ3Jp9eF+6Htp1BEA3jkV7JWm3o
2ZvN0DC6aFzKVFSXW/oLbs00yebChpr8GIeQV+K0EUbhDbMqb22kwwPjSEi8UxTDy8PwZXA53rTx
uO/c6QMExET8Y0vAuTF+hgdFK519W6SeXy7Ku54k8W5qnf7IWAHIb2ZW3Ow9gPCaYJ1OZrkmSvK7
xkzprnG7fQB8/qSo+bFs3fu508f1AqPB70MVNqei+X1uer5JKvMMTGlPLXM3d2q3bvmxKHLTMXLN
yldnyqmZgWGA7y9BeFl/9j0XDHKCmP7H9JK5lhFWSD3hUlsA+YcaKw5q+GTXOXl57iJMn1pBE8VW
OYAwKuGCzT8dsp3ocPRci/bqGP8s+CXrRUffPefjnYNblhaOB6dpCmbqgjQsXCukrqvonEaKTuNn
tnbjwp21Ch0i1FKMZ/xfD2P5mq5lvQV4qiNNLzKfQgqVs0l9VFqjQhcYddsG/ORuSKKnApfDyVIq
YXhhwGDa/ZljgDFIdldjdNvUVOhXVTH8dNr055Ko3zHlPwcR3a/KnITbu/9WR4u7mXvXOhBX0EEM
0KONZc1f6Fwme7vIgYUGxou3wFotaTivKVhYwfDTRDaCg0kEIS7tashYNHME2RRyqh2Xx8Lof+hd
iF0QuEGOrVp0zV/y3K0egTHFgXXn1qAuMdjjbPLcc13GpZ9o3MiXsBp8w6VMshhhf2oJr7QTtUbZ
7jQ+/izlmM34zKlh3luFOu4sB/zgPEYQSMEsImZWhhcwOvdl01ww3FCOMsxyr2YmsgDua2oAgCwC
6wzwML4kJc2LBQ8zZSM4fraSD2u10jh5y7qnO8HIxrBhqiZob7gox9VJJTYTj339qXppfWyFyUKu
kdtyb1iqdqcrIM5KB9ra5ADeGCPLoJU1vilzDgU/nU8muopL5HBiQ0Ddz8nc343cNvHWZMUuUQcF
jXtymfLUgDkihu2OR2qpKMfpZBBCpArOIBUnPxkqawsCYZWYc7DnRnFqWqc7Zvjf922wPM7JEOyn
NHBWo+ocJqczVimYDeTCzlM2VAAviUO7C5Jafc1d4yGhITdpkDpTPYwo2TuEclBxnlXj2FdTcq4D
sha4kPRaeWrLRX2YqEEb2hydoHK9Y2mDiGaSIZdO5UtNhugxr+pny6vAjxYOLP6nVnWXh0Vd4k29
5PWWimVA7CmeuVi3bcQGgbMd3QWaoa08q2RRrwNmFttiIHw2U7W3Tt+QGm+umiEfL6NelGCzTmFA
Y3lxGZxK4GD+T+qg5BH+8ZibZj/ikBGH5A9W7sBtERsFpZobgVCtHJ+O27gXfeeDxBCCiE7xq/1z
mz5ejD9JzB90zEtDPpNSUIS/rtg9SdyTizIPZyAosCDC2viIO6Nf24WJO0upYbR4HpnpoEIx1Fy3
u/ojxEF3lY9rqSJoMEL1TCfObyJHaon/WsRG7SsEF+57c4qGIxdyi7DQdO1MOd4qKXXMzSDBASbk
kDja3U2vtW9SCSvlbbfFKHRycnNWaM+ZVrPtW0A+fViQeyhUkvI15ELlws4ExNndHrr+g6aGsDVE
dGqEYlq+GqEtyL3l6u1Bj3zRUofbc1NDM9ZC1SvFfo0XLnehdvpNRvybalbKympRoZ8j5V5KTJl4
UGLt2sneTdQPUsEr9Pog5+tSFqao6M4BgoGjAT3IfEOiC5E+4aEQIsJIeJnkQhHfkn1K0RzocBgZ
MQZ0N8Bo8CuJn0quTbmxaJtYwf+F60qSJw1BlJFrlWrRSDYn52vPFRwAPjwLW4jAy4oa334mRTwU
uEzuC/gYEA8e0kLgfuS23kCYZHxCn1Ux1lNYNodO2LzkGiFb/d5y8E0KS1grFnItI89h0+nT+yB2
DVS/6/LoimiUB1+sQeWJXeH0HGgbrDUcBXTv+cghYx1tIz84P5I4ECsa6A75nbH4xABMapIlrKna
j/ArokSzd2EKM0YuLIHPgN1dH8Y2QEwG9VI+tCxO6eOCZw5cfEGvBF+HpnF1IJiiPJB5DohTLAoM
5pvJ6MH1q93Wm7vH/ya/vGk25wi3beoJh6yQzHvSPybV83JbLuTmogRQU5rCQ/yWMw1HTY/WfulP
TOKCrTxwFKYMYIZzxEc23tVGfAL5geRnmZ5IlsOqBxyd30SSc3TBBAFTWh0S1Fs7GyiJpKg6CnQp
LK1Zg8Ai4VKiP1nmqJHRKIhTiQBQSdpUyoniI0EgTEdI/eWCc/qvtdkWCZi3bfm0Kh+kyzVuvJk5
8j//DkK8ivJJbHe9njdf/3i1pTXyu1b9nCqBbKlNjrvrqlkTecC9grGJeDAZAHnkTcx1/rbngAMI
PyALuSZ3HCbuw1RvZoQJHBJ60m8qC9yT3AKE8BdhyjOar3XfiRxI9mogKWsbNVQL8DiV5VdKEftJ
SafP+CeTStKp/ti0yfP0yO8RVjZ8+reXN4xW8XG7iKhQvlv5td7gXvKxUTwh1/7dLigJrf1QcEWX
ZlTJnSGAIFA3StjY+BsjMc028/sSnDv3PojiKlkuaOaE9t+R6nu5Ws/6OXYSsoKmh3KmwexKGf7N
cnr1HlLGrf2lFobW8lGRv6ZEF/22Ko2n8Ez3ThwNO+yTXCSvFKPSK8x9CvpWIncMe3CJDFZBTnIp
ub19uRlLPo94Qm5GVY0IoEe0Ka5HEvxzZQDdtoMR6JzbK/B6+GSSGiTXCq6f06DHe8rEja9bgKPl
43JhtURbw68paKLMzPBman/iqsIJFDV7uUpAFhmetMzXmcTICiZtItbk5hQ2zEBzgbLqMvJfteHu
ZowEomVzbRJGyVFTCBaBbPWvB6HYlJA0eUxa1N+22mg+/HZ8y9UuphSagl1Zy83KiNJdpmnH3/aT
R7baaRfNUoztbwe/3Of2P2oNYXORV/TWBZwNfALnUzEJPBeqrOsblH/S2gKoMAlZr6uOi59I2bJE
7knQXiTug39syicwDzvr/6W9/I9oL4YqUin/M+3l8jl8/PzXfsz1T/6GvWg0XQxgL7ZGkqWterQ/
/u7H6GTt/d2A0WnAkFLq0blxITe42j/pLobFU5bNo66p666l2f9fDRlL4GX+pSFjEywJvpaISYqR
Ov2gf23IwCaehqKpjDPhCVTIGmvD1DHBTkKobRj12RorDeX7nJZiRNuCyJMujawTYEZntejNl6Ck
4j1Y6E2JKiCURG828OgrBaAHMG2kbg1W7VJHHK1o04cGdzNiAL3pQVCsR3NZLSrOowG0bNZrBWBp
50uTB/PGSxgRelrxELSltdNcrvUhWD5KxXoJY3dpqnldLHFCp3o5tEbk7pukezb6qaYkaL64RqgJ
QEK31Ro1XKvjwJRXH+7UTlFRlVkwWvupfe3C5oXO6mtDoM6bQY6gUUwXzw1a9DzYQI1hnNbE3EOe
Met7WABAqSAaABVABU3zeBOgQ4EJ5WjHQDcPmUpEreLCVCdR1Pd0QC7Ir3NqntmjYiKbS/MGlK76
1otGkLYcPSvbl0FYvcM0pWwzn5cqivxxqDUUluPBjXTCLmhWbyZ1eUzHdwuYIs1nu2U6Qy1vXLQn
LxzGlfwL/BogQ2zaAbrLbZB7iQe/ACWE09JIIss8WzcJyetB+mAtcYXwhlgWYgbGeKcBh0dIZvJl
V7/6XqOHrhIKR7UOXUyxxc8YbD3zp80Efd26IovEsI/4GYILwjSbBK+5te5H5ASbIr03awSiNO1x
tnrjL6cd3ycrr/fI/zZhEhPkVgDv6ifHpzbDNCPJqDEVWXu3gNSzUC4QeN8UxO4gCLNKFNSjTgIE
A8g1gU0OrFgU1BBsOnc4DD1ilpiwLSHDoQO/0CMfFO2hasb0bMwN5OTGO9vZjGTcSY1NFgIeHIZD
8BAmSnzOwOQTn0sW4pIoLzRJqoxw2KUkCAhpFOeBO8OjQUtV+Y6eZQ/EDhyJNe5OzjNpSeE+bEv6
Ff0vqxmCM7D57wWT210rSEeozwBjIxIEzau+hWZL2J47mnw9wXFRvRLwHZ0ZwuBXA5C7iwF7bszD
5mgwyyqX0XhLK3cb4xmIG9wIDBNWJOYYx4TR4roIzMXXTMwtZhx+8WxUXB7RgBevUys/yFXua1O7
i1pIaoE2DeeGXxFjqLeLYtBkg5JOPs6cbI/WGsYYUoGgbdwH3vXetelJhGNmbXARAKJNizegkO3J
hVK2bo0XI4v697ovnrOw+EKTZfDLIbP2Xjy1Pi7haRjDY4OQ9G6OGibWMNHAhY4LOWQxg+WwUT4U
Iz5rYzuiOvJaPIxcQ9xg2GuKcpeahnpphCgrWBSKnHH+potqWK6jgwPLKDCLoJkzKMQXN3dPkann
e3G5IlwuR8oaUoV5B9Rw7lS3/6wx/pwclfxNxk1bCsj4PhFqH1uV72DWo9JXla48xwriH9ys77pV
BcyZ44nGHCYjq0U8H7iULwBemv6iTNl9QDrl3nYImowrMzujVB8RUKGqCRtEMyRkDxurbVEnQVbc
1Hak+0FTOBtlQPapks+0awYv8JN8JFMqCF47AEEvfV6uMTLYawZE5jrNwbmXKkOmsF0e+JzdbPBN
6PQg4gHhb5nkp4ja/XWRJcm5sIK71jE53fjJFVtrV9rYdUDkpk+G7tZzGsamMMWAfpqHY19MDEs7
wglU+xs1SBwNIZE6FQMqYPLNGseJ4mtF3jJ9YmGIRR8J6MZtW64VjBUzWr3Qaa/Pz5iI+b4Etl/8
0W3zuqd80Gk8Xkk+9duqfGqiH7FtJ+1BvoTcRT7+xyv2DGUOBhZ290N3GXf2mqCoLtLsXpHNcF1V
SlYjsS3X5E5ycfub1OGIwEvOPm4rsJS3p25/c3tM/rV8AncLSTzw89cz0MhlLR/89+9Ake9L7nD9
d/JVflu9/pn8L9dVtNZHTncmwP9887+99O2Nyaevz8gHf9v+43PKp6cmIJzdaZr17XVv+7XN8EwK
ATKf2/co/+z6AW8f/fYncu3P3eWDv326//zOrn/528vLr4BeH16k2zus6HD4VpvRv9YVvmn5+nIB
37NlOiV+vN/ehHxKPijXKs+8qzKrgeoyvYeoma9/cN1rMhm9ox+lew0jhnyHhX8SWOekLLR1GYYm
2i+q6eiaHnP6CQdnpqKQVIIZQLI2h4t89PZUx5xjZwfK4Y/H5aYl/li+wu3Z66u0MFKB695ekUbt
KqmY7kw1dV6c/omY5MYDVuOVXFVqMA/X7TlG3RoVsev/9mARpMNdWr5dd5FPyL8LolnbTup4H6Sx
x3VAUJsRP4DAAF7OpT9K/cz1jnXK/I4JcX2Qa42YwBs9DFaTYERfzw8Y2i+xF4BREue7PEUreSmo
9Ive6TpnZHkkEpnbVcpvxhi4uHNbb922w6fTfnIlJ+unmL9lSoVtCFUSWCSxmMXcVi5swaH+d5u3
/eSf8WuQCkDyKVTifj9N1XFqW+fOrApy9qbvReQ126aBV77yFmrppjG+B7n9XNIuQvZAo6ZCoXqQ
2A9Z15Ob9dStTVxSe/wfBkMcACXUYEhotUlOSdo1stCeKiVYXrloxdo1bSWH/bw3hd9JsJdlzIoq
1uRm1S3aDlr8nTLZ0VEusLoRkTZzNy/x69NIbNziiPmmxNbDTyprmHKBlW+lj4GzlxbTSczx5KIH
sFxplsAbV2AxvMCId/ZkPzQCHT3jH1nPgC0ouqCfzgJln02ADiysL6YEDxeKhUHLBpE0LAw2OyNp
SP7TjIPjtAZwOqVB6ZPgoBd1w6Qhd17FhL6yh/odxsu5YUTC7YyfKpme8OWB3MOTom+MlFBdu+4C
WhB2cAeCwxLZQzI8CZmAY6IUcfBqI0PhSi5N8nJttOl50x678kWAbUerDAATQbwcUzKNqBYhSnLN
s5lsMydAlG4MhNPwG3Bk192e6TN9S1BmyJbhYTtiMXaudldnT7ImqIrSGlJdCoVBZuzJJhrJuP7b
vJ9Kzq6sTUvffbYUDA0Y5sminy7w4Bb9iHxPDRcYSGyQgSrKY9JXfluEs0AiGTkoe6XQIDOZyKgk
HcSaKY0SHzXTtaaxKZkOtwNQrv3x2NwRTxFNeBRccTX0nJKgr3DbMgoURX5BFRYf6bdt24niDfOz
GBybuLj8wRyQpXP5kb0KzxKceUI4xTElP5484HIJHJFle/mMGwDtARd788bLtdtCfgldSoNR0Gj+
sJpf7dk3TgUodGQ6XVv78qyTh5Bcuy1urAvuJgxXE3NviSKTrHyHIoJJLm6bBAO9k2pLKNcMrTIe
rWUtYSjXVYOu4WpwLRPDHvUVWfhO5FEtFn9s0tHc5kYIUltUuGXR+7aYBRFLboY6wnwOi4M7GhMO
xFH/7NQZN5WgmMtFFLXE2gb8Xlhxgr1pFruwpdNP4s5G1o/l93drSfwBaOmy4tDqjSbEGfauh9+J
g4rDaMFxPNPaPVIb1pF7JZWfjPg5iDnR2t3MPU9+IJNT2io1PHTq0FIMZhK4Quab+ToGRM4s4gx0
QFsJftpB1e/dwDGRljj2IZ5J5CLGBKlxpJIBYCSnME5exrEDHtpWGQpCE82+qCn3qQtRX3BgClcH
rCIs6tezQFH9oRjogJMK60PdCo89iLUmJGZLHh3IVdItpPEXqVuSP7xcux0MDlXxg/lcTKQRNXgu
/EnMjczsY9JKg/wuWO6OWChMBpW6S9eyxiuzCEJvjA9ZhQ7P86ga1u4+ViNiDfrXvvIUqORZ6NeZ
gdNpiBqQ15p1orQ57ZZoTI6dWfQ7p60e6xSjk7mQ2sjgUFkB4IU/Wfe936gIwxWaeog7SgzWi57u
I5JItaq9MxKgbn2BZEtmCXQmlzgTnxtFd3Hx0IKSaBsUZb5H/0n0hwbSodyayC+GzaoYNk/irurg
xdmQ5/1q0Iogd+eS5eawcVoPRjX0RrdpXkZ7ZzDtXV9f3Sx5OEsD15f/hw6/sa7VU16QTeg09Sqf
0PZ0EKhsu/TzlsC5RtznSZMDgK4JvUWnnSpNVcn7Eo/JZ5ckwv/Zdi9Rz7VmWcIvQZAFROCEgLzN
74upzODaQ+1I4Dr+D6r/GMAOcT3QiWkx2uRFgBqnS0AFL+jIxRdAd6JFd6KfMPzcN9QFNuqCSkn5
BaiqPEb18FVrw3njjt0mIBUQwSaOpglAFzAuTnqxKBQlpFSufpot56LbQFps1WdasfG++a0RIlsi
sjofeBqZHGaP6n+4d9wp2SRRRHgYFxRU8BlyVbkDZy/22g+HoJFtl6BSG0CDD+QlCFkZ9xfx2aKK
5D51Gt1VbYuLrlgMOQ2mgSKLn/VcZublrZyb11DpFibbZAUujsbXY6evuEnpiqSkYxpOPJ+TrnB9
o8JyQ1bT9fDIZxFgYMY6Zjal9CANQn9gsvnfORHyQcmBUNr5CIA5ImKEnXWB6LmhIOSa3M2+MSbk
tnyBNC7wOlGz/nM/uYuq2+kGtvSv69/Kx/JkvIsLNV0X1o9UBQpQZsQAjWUXwtw1Fb+1kuciT5ez
t2jpE/nOyz4Zn5IG7Jih43JE/0MJTZm3JGQSSKlOQO297+GYvy7VjB8rG4ETT4NNEhbRdctS42i1
q7ewL3a5qwF6zACvRj2a6CLU8d8MmO+a6UjHsPkRTIgOx8r7Vkq82ExNKRhqZ222/Ygmh5qkoqbT
YRwW5Qmt2w8NzpdrmN9aw8V/F47BvROFzTnQFOJe0nj+cJr4tOBh+qJT+9pTYoJGO1jDt1Q5yudH
I0N0AvbggEAgeK61/os9LdOHGbVgePPAudD6bS9FSx6xKLl8IOB8KvQAxGRWhjDoYhKLlxExqniy
VQm87NOPlui2bb+QbJ2ETvGliZaLfFW+NQ712DLPxPWO9xZ1YaKA+Xedq7xHCbansWoIijaxFOYz
odlqz7i+VKHXT97yXmuoxorC6iEqesvrWEV38kPM3YjZso2NU9XW2gOzH6HfFlcaG5trO+NZJWwn
eHSWWDvieZ6prvFuF2oKi2enX3OlWXbO1Gk7Leujr7Dj8Avxrvo5mkDV2PpxdFDTWqQoXt8umFJE
z11sPAzhrJ0KA+61fMkZjNkwWdjWSFXZl3NJLxwn13uOFEq+ZFSCFu9awzi0lpM+I7D+Jh9XsxgB
YBhM9/qcG+fF7kZ64rwHLSovbqbWX6gMlnft1ECUUOzwwyItVvzAZs3hRIySfTeMav8Sp8uTfMGx
Qjk4WG53ieaKTCe8qNcf0HLJM1WRThPzm23avk8PGpEt1x9QbY9epI/fFgySdPHJLtVVx8Jgk53k
qy6RQ7C4OMQwSQf38rCTH9ysYZ1Ypf5kqnN8jFx0a/LtFxrDS53k6LgEvJKrSBDqyrxDC+49JiEF
Vm82ih9Fbx6gMepvk7vAbdVRhIa4aR/DSUHYJfZAU3Fn2UryFVxLsjXnpj5UXJAeW8XSOAfz8kc8
mbsA8+/XPi68TWSg1olEdZQE6L1ncKDJ10FVjEc9i94ZbembJDTcgwYt5WGGJHt9HSvG4zUqw3tG
L36jONABJqOIHpomjOnp8p/CvPQhyAXvredUm7TKxyMCKO2eMjHUYfFuG1jUuD27b+Gs83MHOjd6
N6/vVZSO19ewMTLlneV+W2rH86dKS05FSR06i5bhukePR25YlvbDbS3DTzKzO+GnVS+WYLvI/zJx
DfAS9yMr3ckv6CeeWjuqLk6L8VC+UW/Y2xgTT3IHtepb3+ma+Nx1jkfyYE/Mkvg4+MiqZHa+D72N
3d122nPqdguHoJZQwm+zH9lfb6jENziZo3E2yB0/Z/wvP21G7Tt1zev7qVV33StKdCE9PDjBpe79
2iAkMFeO8j9pS2UQeFl2l2pA/N8HgG8CoqU+BvNN7gDwZl43am1eOm2uTmZL5G4Xduql7Pl5oACs
Kd03P2npUIocO/UJI3HFvY2U6HwphqfFJdR50Oz6J0Hp2J5784M4NWWdxbxGzfF5LHiPmwE75avS
hU/XV/Oi58otrddAyZQN3az06GiKeeFgQkIeucGHy48ld00NQtUJKqmfrNIc9mUawNEqS+uJaFQS
VsR7IwJ4XVCc/cAtmfhVWjcXlOXjMbVausxDRR5aVj/IXTl7XnrsEa+UVjAqcEoc6sWN7sfSMxn5
FO13Axy/KV7VYFK7sjtbedTmWd8zeCL3xzaSZ6KWmxXEj+YnZE3MhoPyLVEIlw79DBc9UrnJPHYE
am7inNPLXMyL/Hps3YUr0MSvZtsRJx5O2kGPi+Z+ahUVnXYlRkZvcs+FlLEVbAPtcQoGbz/OgDK6
oTlOfd0/g68qr9/3HBJlYHrzNyWpIF5i2TyjcIlOU4/3vw+c6OvSp2f5WbzK+6oOvfHFiZRhuxRE
LBBIpt5roNoBYXDAacNZfkE1MzmwqkvzOEBruKPtP++6NLSe4wFtjtwlsMOtS7vqW4DvSIRxjWdH
V8pTYGrFxorb7quWa0e5K5W6jzgquE/m+J8wEuc7Db3hnV147qO95DOof8P80ecNaoBGeU/JefbH
rmxPSLmjCyKxGN1s1n3P3ce5z60fk0LO+OA5yr0B8ATbh4mhsxz6N8ysZ/laUaf+UpIweaG/AE9i
6ieCErh1O2Ffcm/jNYbYg80ZaF89axk2ix1Nx2Qpwvu8LeGEifcjF3KzDz3l4qocTPTiAf+LPxN/
L/cwwsP/9sb/J71xAzIcPsH/3Bt/+2y7/3qlXRkX8b+0yP/6y79a5I7zD0cnwcv1VJqVmqnSkP6r
Re7q/7Atw9Q88nw40zzx1N8dc/UftiHAsC6+NcO1Hf3WMXf+oeFHp41ue6qpe3gg/05reSizmQZe
+8f2fxX0acu46Nr/+3906888FJNLGUUq03KISjI9gw78v+ShQPQcsyKBuD4qFrAavfzMsVNj6Ijv
EcM2x5F8T0KM4MszZfwAwZbfzQpifK2/DCgJTfsO60dC8jMoB9rpoDMC3wI1Atw13Fa28xEnwX0/
qRgEEYOuKHExpayrYJclqN9HtLixfazmxfZnsjSM2UNSRJherzfpJhiXt/GDeJiKqMHa8ftl7/bV
CE0PbZ0KwbwpibhXbY8UFAPhUI3snXPZNJHjD7PSib7zB3eH/GS64zaxUWRqwXQcwmw5jQv8JIcR
ChSK+5yhNKYLmGJ4uSLIwWOma3cw/yMy6oqzQhY8UJ8BeoX+3Ec5GRZpPwDFxa6oktkAX15hqGqb
G+T/1D+BgKy0maJo1VUecj2vWXPxyHemS/pIGSrqJovTXlRtn9PecrdW7DcDFB5ilaCZ9R/NTGPG
jLv5PvHU2M90rMqkzMzEpW3suTo3IxhotPcKvc+U4FplQuKQdbUf1hjH6j6mXdmTTxlVFLqrkKDK
eXoxBvcpd8WQJCvvJqsjI8VqBYZ2BQ6+0l+qbhhP0CNeNB2uUte+2tH4aJk0WUd7C0RjZRPzVDS0
dOO3RY9XsTfjz1OOTFTu7XI5D733RXWqD5PJ8lDBukqNZtulc0NQh3snnjXotAIxckTyxbcxwZ5i
FSEjw9wTPUVu93EzrhDxtRjtyqMxTdo61gDkMa7ap519GMOOlht1UmJPsGarw1kf1K9x2aZAFnWX
+HINabpBAmCtwtPQ4SplJTQBLzW1XTIsFap4Cx+mZne7xGy35RBhCm1JQyw5wFedlRMeUjvWsY+z
+ivYuaYrjp2Dat4Jw9KvkVxitVjGdU0JuZz1cEd8KeDa6UeXhy+qTqtdQ46F2is96w137UA1nvA8
ndLAetQzeHPQetb1+A3kvrNpROxHFTX3yDUIDFnGvWJAk057B7vIhOA4JxZVab0tBivyqJU0OrUW
bZ4sjrZjoe1SlSZqWNSHdqiWlTl6O2PuZ79O7WgTGsq468Ngk/c9Crgsvwsp3216Uii4EnCaTRVK
EKclsD44BY3yOOhW7Ts1QRgGkKi22WntMOJDNKwVCG8ICY4r8ome05bw73nxBsrF2qqunEtn5vXZ
iZH0d934JXrBT/MUN09uriu70izwyFUYEzvizIpSR7ZaX6Bsbr0CHYvG0G7XZ9h+KPz2FByacVO6
XfR1tB4CAG97b4oVavqMmTqaBtHAEC79miRPtSVDdSof0W+8MTTrAoeiRmKAHnF+K7Tpc1YGZxcN
1qW2p7sekMHW0ZC4W+68XVKtpA49PMwzpY6+tLh9uyTSNL1C/bEnVcmr6X+Fj00XbT01eGyH+0Bv
SbHxIHpa2cUpSosLAEQZvRIx1qZTr4fFmvywxGTnoVRZQdvbq+2HR5juWms/pqnPfUd1fNzKHyr3
d9Hfp46lm1snoEg3RFzKErLYFBfXGtqCHz3CeD/PTRhYzXJX655+QsWBe88InqbaC74ArjjU2XMe
1eWmi4uPucdvXBpReCACkw9TRp9VhUnaG417EfOGhce5pxg8HCYs3sgvgASbr4GNGwwqhnC83sVp
5D4OpBKkFWPsaVjytfv/2Duz5saVbDv/lRt+NhyYMgH4kQQ4iDNFSiq9ICSVCvM849f7o7rtc9z3
+jr87odW6JS6iiIIZObee61vkfHkOkFRemkYCm8oKT9s8S3jP5EiX9IZ6ko2Oa0rEv0bANliyFTc
1ZIRvyLUm0XurTc0X0FkDJjYACKSd0cIHsxIUoMgj1ufdi6DZTbZIUmiLFitsTRiImXskpWpIuh8
LB6QkNQMLnKtWV19aHGBkKdT8unWUUatN7kSJtiiV/B4UH/uEyoZ/G+7sezELnSiZR2a96xUibRC
54lCZgvGKcJqHi3s4jHlUZAQBBpUlkhTV49oLtWwukOVBZjmNo1dnYZ+WI9laeOozanw2SVpkuiX
DHs14lqsaNR+FPIISICxCwhUjYIRtddHLxh6m2szEjuRIDmTGnmeU/5ckz+yTB++2Dlx3qVj9Zvs
j5O2b7Ft4kFIq0szleNW24wzPEM7mU6pejRTKVnhWF7aEu29iXqrbg3bjVT8ZWpQrw28fEvfIRE1
SgnTFr56TsECxoIMxjR6YS+oUEupyRpvrQbD09j2NdvakFVnI2nsMxyeZQZ9SzLnfBt1M9zJUHkA
4KJt18JRQzBf7CNZHpoNOgjlBIYR66Tsj5bZsUP26s5UneeI0Pqngm7AWelUvuAy2iqx5Hja4LCw
PK3tnmerujNJuiU+N0qQvBL7ZC9Ge3h1QBeQMFuthrKb4FlV47KSxjoLlNkdDGdbReWMEW/Lulqt
JgV9/lyd7IFEwcTelYO9NCqrPjoDc4FitpGWWvz/6tlZTb1zmQ1luvhdVT+ZWKU7bKz0kyp7xaP2
jsbq2rWTsm0C7n+HzKys5MbkzAHk0Seja57IadJR65F8zv17EnB5IN6XBMA5oVsMuHnN8rsQ5mPQ
XiDYmeRSYoF1tQiOPyLdFYlVGlxJG+vo9AgqCH9lo3GrOztZ9aZ5Re8DBPWBCnDIRCMpYeF0hb1U
H57Wqd03dZYtDbajqFZoXNG3ZFPoD1b/FiE+9mcM9Fk1LST+IjFm2UmtbcLf9eC9Yga6isBobdQe
J2Mxh/ceC8dyyvT30I+w0Dls8PHScZrxVdZJ6elVdtMS61V044p/eCmJjFD9jQFSk1iaXN9Ip+1W
mMyaTaFpPYm3H0KZhzeUiV9FiBa9tpO1oRs7WQ0NDxBX7BHtszB0597nHZ5BW+51IDsrJxg0V1oO
2xjNsuyR2CBl+hFjQiS2CuFhFSAQrOgZKUp/zab2BQDT7BZVGLgFo29rJjk+cNp9MILrgkdzrxwj
WMwxK1czKMmhIPIBodVcHooR02UH0qv8VP0KjRp2WHxvrTtGY0y8cLvNovASoaXcJaX4KHswnVo9
XyJgE4+AWzkHb9Mjvcqu3mWt3JK4NV0j9H1Yt5jZfWBwGzA5h8ZMmkWYzhc6eegGjVhcfFv7k2Vh
gLmwX3B8sLcYlFmWBivePoA8qU1sBmzb5HGjEnm5svict5xW0r2tjRyRWOtIea9XEDMCuoZD6dmB
IEk56acVMdzcX/Uh8C1QENZnnGDqHgdoTqiT0kT/VJSRcC69HJaKjnsx0N9NvZDbRiHrlV10p2UO
mqq5rBbKKVdZonO8B54y5Ve/qqjGG1hGXUwI77EqwotvJpnXyogjJebTBTUziLaZ0VNZZDdrQBrb
mJcpr3VX7VCmVaqxqhv1WiDKPbacfayQI7pjs4/Rtl0I/bG4x2a1nh9VQ3cF16GBW60vliH2dtYe
/GSGOdiP3QaGLNuLj0/KVNAXUigb7jj2CjnrZec94q1+ZWb1ypGXs11DkiGRwHS/y+bc5RPueU1h
SF2E29I0qlvStjYo3rg7kMmHb91QbJ5urrcFk5lI2HMAcAMoWXcfLa3nWA5GIsKJuprbbNoxxY1c
03iYAY2Avvc4uD7TsqdU+cMaA2WqohOBx8Eib9t/yHHVZqXEFodUUz/2AbZ4wB0VetcCXEFZb6fe
6N3RYazYiNpf2KyrlkY8WqnM9qqZIKS0CD5PSIhnDtZd9V6VIzADo+w2sw+cy1CwG8oM1gBxXy9m
ZK1nKz9MVhwvCrocb34Zf/VE3flxQkpC2H8jgsGQaUqGh/j4VYqNvehYUSISWLG6LUiD07bB40fc
f4VvNigro8/G6HcYEOll8wA80gcJTdormeCllCJahUP1OonpW6+SaxOrILiUBPjGqO8bOj5inVf5
IdcQUxdNQ6bjY/rXKPbCUsPPAHkNsK7qPWvqrS0n9r1zHUdPTVd+UEVdZD+9DEq9UhUIb7q+y9Lq
vVWGdh3kaEmj2bkiWFkLwPILOvKhGtPRD1JmDFdZOlcxBh+2HXCFIe+KGrapirs/+PDJfnNqcJim
RkqXxjluOOgJyY6+1rlOT2x0aj+pqbWlaYaDspdrYYbw++RG+uGno93HefZmqrd+LH+VTbzUpHM3
rTFaNJ4zOjd/cr44ff6yetYQhptLpfylawfHhEaBcSNma7HVlNogBzrK8mf55znQd0S6v0Q0dkqa
mLPdnE000Vi9rat4hHuH2IRV8HAwCZNqMcbM3Kg3g54w0XQfp9mlhNTaS+NJy5LJzXzAEdhpT0KG
e9Kpz/FMKFZdMMoalqJnvO+zQoP5TGmKqnlwLAQwaxJx4NFnzsjV5HYkeZ703Uuhai8G0JDUxKsV
JOIzwbJfFIcZ0SkRy8nNMY1DXNanyVLOOtTvRv5Ctgrdt9gHqKwtvEhlbXpzCQDyrY7yeAVv60Yr
btPFrMrIAwodPHhsnsbafK+K8qY2+iGo/GOHQlpROBRilBqTdwHtGZe5+OwyZ8/5V8dmDA9DM7uv
sYJzyxEnAb5fYsdPKjiUKIZtMKIVRzsZ50dLJ3O0Cb9w6F1SABeajxhK1a2zsCVjzP4WRfoSvED2
89HkwCuFk62yekNQOcUQ5ahePcdFAKgHeKw1Wg6Cy2FZKlDtC/2pdYxNaEBSEPqrDZ5iGbO2D+xI
j2uuDPatLgiWDsKbXx76ofyw1HWU6zA4eymxqWMGmJwzXuiXoC+XZdN7jo8BfwLlYQpio+UL3Quk
Cy3VsxL6ZyLeVgjR84XZm+L5WgIC3OWK1nmwjMtFlyWQJpVoawycp+i4HGA9qpApmrVaEBLY9iwa
uHX6AVOxUWT6wuZjAqK4DYDAx7IpKZSVamnY/Zq9v3sKjPYQBepp7OgAsHEhCSmzgxyU56jQV0oY
1UjjzTPNqNqlAoS6nrYjsAd/lwfjfk6g++ZO5tVF9V1IfgGfUaDBMzSPVnpqKuvVyXpa6lQRoRwA
SnVNyy3hdIyR52Ma+1j+mEZ1JeWrGn6gQX4gTxBAFbAQNXtvQFanc8UxLjCO4Aq6lXWU9qGuOBYw
WaKYD6FyV59Wb3wqw7apOcbFA7uFBDK15O45ThNAyJESbTGm0YYUu88S/SHRDSVcB0cbGF8Nq9Bp
zmWAe7tVilcp491owRRlJPNZK8N0U6NTZRNm7sBDX/qtuBFDe2DrO/dGjBFdtdbWpNxkr5w6Y3jR
G1owRUO3CrDFSon0kyVS9sVifteSCjeAEZqr1p542hh5ZuFKZzYC0dQJFkOeHCLVto8R2oXE18OV
XYZePUfhk8LslVS/EkE20kum0TdENR1iXP2dWQWH6PLL7JG2jbXEY5iKraE+PCUGbMWk+Ch8RJpD
66aztU8cvTiqQdTeiJffPhK1wrDGJU/H0xVqCA1nrQ6hjahbziCJyDSTCYMHo9yRdeasx8CkbteG
31nclMvUUrJFSMZaU7JsaLQ6vSwZ9sbQa0Tk6jtdUHIU4zNMFpfjlr/M8vZds3GOtBxsBvA7A2KN
rdCIrQxEu5tCGmxt578FqGCrGgzzkKir3GnQ8NeGttHq4ViAGX7IBaEmzEVJRfEn63lAO6uikhT9
m2yBRxTDc5oqMHLqGkglMbUkhFGVDKllwIMm6lYvlUuX6jlwSz3xQp3CLxPWejTaZKMzCkedJjbs
qRZOCZ2GQN9QJXA4c2I228Fq020ixGYa5VMdggqtMsszTV+hj0J7I9Om/jp2v4GAje7QEOVQtIBY
bONQQc7ZaoGKA8dsvELvOBdk474lJAZ0dnMc4vpsjcUajIC5GMae9GKM3Fr1JXxagbGMf8+47JYJ
BR35xRh9fPGdWXiTAKST9WBb8a4v1efaaTaqwtDG7IJzqwYXI1KOvk32s+9YQL3hM8PMgb/RkR0N
6hXJcRCf4Vt/RY3zyGPo9xFRnLPmMzCuH4+ogYvcApGFolNZBomyzfWbP+fe3Fv8w2lDTFh6TFXa
lwzJL2lh3DqloDkwKe+5ohsuqe4P0IJBNQadNVCVA4xrA/jbKlIh9AKYRjpjJGuR9XA317XfvhRN
QD82kF7pxAC6EiRJOnrfPKMzisriqWu8cKid34qq3xn1UOrGQbLMcJ6vaahu/D7b+BZ1hxKlBFHU
Y/4EgnhdBjHZF1oGo8Di8Av1dRmSFzdDxPP3KSYFPGFfRD3q4HKS4VEyXZyUvDnr8QWdmc4EOhUA
WJszkX/aJoo1CLUxZ4sCQt0QNv/8rg7IlByG/LFuKArSTnroEbWOy/hePv18ycJUPqFqk08As7kB
f/6wdSIyGgwe9YY1EzEvYm+DhtX2RxgYdNqRhozAEIUmq8xxFtGaIb76oUD6UScaP47dH+XaPzID
DcKXYGnUFBuxtjGnaFrTTmbUPvc42rNp/eNE/1Fs/nw3tBxq7GkL3ZnlXobbjpxzrYpir0nqHQm0
lCI/r/5jmS9N35VMuVOXnry9/Hndv4SjP8rlf/kzTqHuGJf6BgSxjkqJaePgWEzl6tle6kSjL2hD
608/8tqfL2FO2cpk5dV4iIjGh5gv/Ekc/PnW+hEQ/SRD/qRVRgzgV7ku9tVPElVjil2PUQi/HZLU
NgrhDZS9v4DZShjxQ9j286XjqfEGXf346490YRNRQTgaNFJaan/9oJxQwf/1n/GUae7UsrT/9QOE
R4ZrVBzmipLlDRPOmlKyePrrC+DSh1rs8YfM1L2q1vG5ODwFSFzaRabjTbY6BZ88ybhtoCdkBFXP
VupnhyLgPIwnkbqQBjaRhbvMytWtDcArVfvZ0zpNc9U+M9y6rZdpB2k4TLYEM3N8IIqmyClWYgdu
cZklypqd4JIRcbQYpk69pn59jErOSDF76WLUZ539dIj2VozON5tp8pJD7HthL79nXWk3oHS21ARi
303Rum7tzCvpSinjsx5U7TLjdEsXEn61ad8GHkNXU+gqTlF2n2L0zeY0LCxuyl1sGl+Iy/rlKOhA
JFN803yilpQyoUFvhYiG9acpeBi5GOBRZw46kRXd2UydZqfOoaehbFuVOWZAu/LZb4x409IaWpZW
8DTjLF2yzBEG03c6bRjgiVmibnI08E+gIH9VCvmfY4NwhH4QCt5uyC7UicYyFKW1Tf2Ocgku2gNI
yjxorcQdXwoOcXrwSe2L9U7RopX0ESeg8+1ycwBPV/6u9OLUqMfA1AkgpVQxpnVq0ffMxEuigaIj
tOE7U+RzTVGdVuUuTYEUGRjvesWEv5XGB8PQ70nlTEg8F1lib5EK1gxP0BQF/XhrJuspTm69jkEk
MHBPdObVqcvt4MRHNZrcsipeaMZT7+N2pJTM7xO5J8ZM7F/f9e9h5pwfL1vaBNK1QOQsSdh3GMWI
HSIEpH3JIG568yvVy3wjBMySPePffTUVJjg9Tdk0VN/yjpUVytvvoTbeWt6hiGmMIAyHvqc3v8KJ
HnahP9ftvugiiTxcwyM5Na+Pd7c0aTccEinntTO3yBuDswOwUxSI/2ntwtJYcJmOcYDrjPFZpopb
6XP+mXk80hIyEObFe9WOa8xnVIlR97sZWo5X1Lk/XOhY35aqqeyQieoxHEWhZi3rmb0lEgjCDtiN
kEENDtgaA2L2nZD7wcSkL1y8i3FUYEgKanZLMS4mUmQXgH1upe58yUDMO/Jfy4MGcHmZIMc/QbYD
OD9gpi1aQXUf1nQc1qKjTW+jNQITZvebKozkOaeLWQiQHCqzjLQgeCKrWySfM28hZ7L3uHQMioyP
Kpm83lDejxmp66STMYSwOvGmyMENWvmsdWgEZWEedEZwcd8qS1+n541EMF/41aGWBtEafB41g+RV
HdaEPxTNQZvsVzQ6HzgDDDcvDNCgxLSYPu+5qvsFgZtfST2RsZJ6gV4H63ZIB35c3yRcpICBKAcb
4xTkZbkCzlqv6Ncg4ovFXqNZtwGorT6hqv2cCJ/U9OaCleUPRtmHXJIs0exh2RYPNYgzp8uEQYTK
p0hsbgA0z3iHVMrH4zygBc5+dqqrD4JxyHqkfj4916KBsdrmIID45vGjKILYliTNbx19YmGb+Dh5
SP2o53EsXmpLOzkTiE+R9KBRTWWdVrD0HJBtzO5JyDLl0hzqeOv4wbJJKCmzTNyYqMPMDGj+OoNF
5WYodBsJpIgTnM5Nz9EZzGH1S+3myiUhgV014iOx652wildVEUczIuaLNkIczq9NX211Ey6hFiBi
lryybuOijLqtMghtgzD3FocC7JMELBogOeZeMdcBvhvuIADoUfw4u1NtOTrB8JLGiN5Rvm/oZr8p
oRGsfJvNfJdYYA9r+U5G5rIRucFeCrG1tK+VIz9tQoUUbhvgY996MV/K6mwR9zOZtAFHn3vx8QNM
LgyCK//tccOj6vS6CJSZGWwNUwGEgk0g7MxLkliuMsUfkDA2jgTolbSz20l6cc6gniefTgyHBVxx
03gPi7JekjB1zZJ0X/afELqAz/XtdhbqdqpicynrALavxvBQ2J7RdHD5OuJBShtcC9I531A2iZyO
9Kku4ArORtpeckIb8ly6RWqcfl53wveFgjsBTkFkaG0V17BRybNBlaDNHLlNNeLulJa/4IAEgiSZ
Vp2ZIlBCDJ2lAbEy+fStOO26sAFM4vKkRhQ02QQZJHF3bSyepV6Fb2vXoFFz/yq1xDWmoV5n5odD
H3chhfgqWbcGjG9NXd3jKl43dbgTuXI0oHRGIaviiGKVbpKB5J5HlxAyprAfTTo9KZP13tr2Hzv9
BEmMeD6XgH4dr4ljF0IYaTYFU/da3bC4QoWv6bCO6oYA6HfauBSLdkwZ2RJn0vxS8uojDrIrYopT
jY08Lc150/Z+6vaZRdhmOe1DNcAsZt6Ear6WBdcMdTji9W4bIaFC6me9I0YhtYXOe4mUomQMgy89
ZHqWeExfiY6UHuPAD7WjZdyl5T3ux6c+uqqi/VIDzjh6smyHZp3ynLDRrtO2P6lsBqB5VzUerLKg
TayhF1vapZYtK41pew0VNp6YiZWxvq7VmRZzoR/sKPImlRAIOGlMr/wdvjiXCBmvsyZUi4JZCnBZ
qyp/xV3/2iQt4rYoOhlhXS7aOLoMbf7btukgJWb3ZqeV17TNZzWZ71mVv+Qpx4Iuuley/2VaCaGL
+Qg7m+QL6keLDSAaSQNJPsLWgC7az8SHMWjI60/B5+nbo87DYC1GzIl2qiUbe3rGrd9e4kLdl6Or
qxVhI+VonFJfS5fsNLlL3TYvBY9SARzW4hMtye7w8iHiThAPB0RUvtHQdxEmqQy8WuaSWvLRVigC
fDYKxmLGSrbVQc1+8pBVEznBA7qIPHvQg18N8SrqRIR4y8nHtNkpkZDs6LyeBeL7hRVu49H8GPrE
5FLfbNLeaJqlS23o14qDpsHI8q/H8+0XQbVsWiLSicQBnIvfFSfqzSTtug9JWokkU7jBmPYCkR1G
D5ktAHYAREq7TWC14tQQhUusmvJVVPwrQnnJWTVVqOALmXFuEbX5ijRgY+ay9lSp4cqjZfxz3Lfa
37qkP9UGOPscklvZmk9573NQqVgycYBpSfulmPwWjaKBbAyWszKg8ibjKs49iZBnqdfCQdahbRP+
3kZ5qrTonhAEtgqKRFBYndUkjnZYLUBDPcZmMxOZggFp4d+cSL6pIXMBhNoHbBAvrdrvZGMnnlY1
Ox8POa9Sfk9VzpKhz5c8RlceQcBrsmRXUA7RVWAU0trVwjJiVE3Wh9FERFBZwrVGgFdEoHgyGTd5
Rqo7E36yKgNJ+J6NFcU2hnWhiNdqjoZt1WR06TTmk1b0WunzqeMQufYJO4YFm1w4AqFRmKw3hDcb
gu2dJceteumrE+/IYMbdTZ6m5hUGneNEcxWW7ciSId9BHabeXLCu8OGaq1wJr1UVVB6uHwIq4pUs
ApBPzZs+E2QyjMbsKgiTGgd3p20Fa83IF1z9DuIYNC+mN0uLiSvDoF3ZUFUUjThqPvoMwx7v3AoP
6epZF8OAxxnskxXfB4iB9K3ZaqOcjazyWy8eh8JFHla5HNY0Ts28c5aobY52yJ/o+zRNyqPCs7KY
qoRDnqUgmJIOGNE4rzZlsJ1nkNZYeZ7UymA8PzAu1VoTDHUiz86EMKQQUDToW62ZOavrHtuHKI3P
MkjivSq2TvIISC8vHaSTMQyMLSOzVp35SNqMkw0bFvFlCWAIe8a4S6AQSDuIxzFaKbp5ZZdxjgwJ
J3HGe0tbCP7itS2GfdXrcskM/6Vtisw1xJtTfsnWalylIepJ1aNrFs3X3KBNVzOzJDN2uPrJxS4C
0BsKMUq0xQq697JLh1U6K39qlLLbKRoezpMRzIjeb4Xo/ugOKmrIlmszVu+m8p4m8ls1ifnN9Xxn
5ChnjB6TCCRjzwl0wfHdANidH/U5fTEFt3XuEF5Hsy0mrDQDtLlSJKFyXRlscJmiJx5VjDPo3MO2
XfmhFnn0o8nFSyqgOIbKmjiRtG6wh/CpcbaJt003PeaBIaxVH4Kog+PXtDdFbq3t8YX2DD1C+UBn
tP1nrjOWyUr/eRitN00fX2hH3Lv8gbyqnHqtZPI45h296Om3VtORTTuONDVTmyCV0TLr/IplYjuX
ardObDw02hAIlz2U2zRtzrEk+iQk1tyFIr5qc7ElFYl8Gzv+mPFl6132RpQlN3/33oTOKm8B/qql
X3GgGg4MxA/TyORArQJ5YTaLA/wb9rS9xMPmL7tuRD9P+RkQwUrk68mO4NZlM4zhiS2bcB39JAKT
gxatTmGswiZa94OeLMoR0vNEHlCSamTYxBv2vmBdaPfOMQG16hz2iBPIV4YSLggYPcciDDmd9Rcn
159763cTI+N3sHtwWv8s2+5NxmTl1NkhFcAiWv43I1ki2DVN174/7w21o8zVGxyWsH8Yd2+SSHqt
M9NLb9QNVZ9C388bKMTq0ZNFdo+ibhHCdFyUZm24jjqTxhYu/S7/U+VJ4TldoLl2JD/NacTcnsXS
6yPtGppqux2HnKV5km8dtgE93AAtZphdkRCgqfioUto9LSUXwauhT0mbDHdbVIdQl9HafoCPyUJ2
RXWP/KYiY2Z+ljohMhHPLwc+IjNbvTQxX+FuqdNO91DJrPW2ZbKWg7LFUsN863kOfJ2H9SRqOuua
H31IW4+2vd6fMJMwnScOyyXELF6G0Ti5synWTt5bV0VMSynVfawYgxfSXkFOSSJPUXdLrCfIFdMN
wxzfK6ah3whlo5d9d0GszgAx7lHo9cxwA7IJ1fH3j/r4/8fK/N9iZQzVAQL2fxZqH7+Hf9t8ZCgp
ovr7v/zb94/6e/sbLfQ//ub/FGojudY0W5NItHWoaP8UaVv6fxPM/QxH6PJHKP23XBnSaDh3CAcq
J3WeMP7CmplIux2SKqGQWZpguzX+X0TawkCC/Q8t9+P3FCayA/4laZu2yjBHlfwO5dfHNcoDJN3a
fzUJQQwq7CebR4AgjyUhA6FnR55yr/bpxpL0oleV9eTT5Krc7tZ+mF/BrX0xCx4Hl8Qm9JbjDJ/5
tS13nb9GTYpKBxyzIDdU3dC+zwiwJYP9nrSwd7alf03XqINX+QfoNPy77NmZ74Z37Xe149C0dRjf
/yMV6Wv878F38U9h+t+F6Bp4uH//HhG2O0KAO5QOive/v0cEdZOmZ/a8wUb7QkPyGnYzqTTGOR5w
Y9TdH0VhIF4m0S/BKvK3G+I/eHHTeVzBf73CJp+UJTifcir6l1fHZzlW2MCQl9+dYaf+Ka71yQyX
6nu7yv7A/Hz4f/9Yz+a1IF4WVeEyeVZW9sF5tq3lfKpKz7xo9UHb48H/yI7zNrkkndscceUMl47G
vBcdpw/bXEyca58tdH+xW2zGr+Il3BtndV3a3wH+VE/Bz5h8gy+VZ/MXhvdiQXtv5u8cmErM1oJe
wwLg+D2796TcGVtBZonlUf+yCpPRC9MCvD7xiM0+2xMn93sEtb4BM2Yz/6Aap2R06+fqqCVLbdes
7SemLO/FnTU3/IpvvJ3V+Jr/mdc4yqJVdPA3pFczGus/Ansz7LsT2SX2Kv6eNpnbMab2OKAwY/6j
7/ALtIwjY2WLH7v55PBDzaO42ScpFqPpKtv6HSFkpnv13c4WlBy67rF5B7cH7OPuUwTGl+k8W8vg
wEG3tm/FJfkGJ8Y5STkUN7Gerzb64ddsuDEZLmKXyxHsp7f8Q66GhCbOQvxB3WgdJAZI7SkJPEDl
Aahtm74TF8SlZ2RY1HcAsN76jHuaSRX6KIgx6sVUVxRZ1qV+H3byszj7p7Y46s8DiarEnRebKIAd
t3Su0Vo5kl5/DJ76eROcJVOCJeLTFJbYsvxAjWuTZrcIL4Vr/Im9YEVGCK1ClaPeZxt7nCwQm8fS
FUv/TW8gnZyjWxse7J05uRY2TgDeXuvlu3ltrkLPROIUe4z1xS/tt38oGdgc5jeqeMfNTiDr3sOD
fjACLm1TunRBZ41pJAHEi3ht7UeYufGaMIRXB2OG6ZJmkX7XF0IaxyNje/Ok/kLzLq7B1qoJ5FkQ
SYKIAumVc+u5EsRrUlBYeyJ99E380W3rZXbSrxoyinvwKY9ds2sZTb36d/tCHgm3Nsm0rUugqLGV
x+w0wCX0MmNvXRrTozVYbvLPYZWXy3hTbdI3x2U9wa9EctLBOTsv8HUKNNDlcvSYAPB0LNLv/mhy
NXd6fIuLZXXCnnVqHlFH2KWofxdW8jS86Y8PzWxcgkcoNJH6e+2H3OCWQLziIdWevQY/8Mq5iCdk
hEjzSnoYCzFsKapw8H7RPHi8QbnKPUrWGIsZF5Kj4To+TBu/3JjWol7WR3SXxGwcEvQ9JPrdCVqY
VKa7INCXnXR7MID0nX+nd4R8G+NXgr5orS+QMJ3BKsg1hFyxje/t++Rupk14Rz2PKAIfSnCyWto7
C3HzP5o/SFkpefVD32+nV/ADHqx950L7bhwXynqqtyrBwYzSl9AI7JPR3Z1Lf2h/hU+xXFi/pqv6
qroZouCFetVODGL+8/WR7e9/Xx1tTWcXcixN09jmxL9YhPR0tsUgybN5zJZy8iL0zHq1o8b9z1/m
3y3Cj5cRjm45hKnZunxsEX/b5nAzMlHytWojtOH2eAlnGtF3jt+EiNDXyFriRyq2+P91FvgPln4d
M9a/f3cmZi/YI6Zlm47KNv73lzWCypQjggG4fdnrI2DXE2Meb8qR7mYuaalrolmQIrLyy5c4QC2p
2R/M6WnUEDVKmSkp96Zb4UP+m7FPuSkxNqtO4HSJDOTo3Xga6VOQylw3KJ4I3onUyPToDNmoPbVy
Nc/FsEiq5tiOLBnpTHOtMHfwDONTPhvV3hyQEdMneErkyq+a5kUvO7EE3Ue2gApIMs0xHxn2fG0z
YN3c5ei7p41uoFu0i3srrO45ECipnDTfVTHREFliKQC8g3LrtM2erJ+IABA2Ml8tf6F725I5kQaZ
tUoFhmvMLgxtVrVEl4HpSCkyJsntk5ol2tpQ561F6upKJky3SKIA2ud3ywE4G3gSpBhkPnPU6M9R
zlvgY29ZDh4CIGzntUaDSyUpnmDKV71EUQhpq3S1OvrT1W1y1AdE/VGhPifSNw9RX4FmmWXPQoXl
ohAKOVHTRlT1ReIJWapThg4ZfbP56Ggrhf1Hv0FIZE3NMYRyy/mUgm3higAmpq7MJM5Wmb3ClbZS
dGTHRqxah7axDqSQUQaqAxufZZ6mxxBOKubn4IwmSErPfCQx+Z2VbvpeJ32uFc02aZCuDPHZKJQv
B/3KUy7mm9A/An5fBg3ZbwRf/kaUkv2Mao/hyyFUsOW3hRQrPZIvXSRm+jxsFD6NmVRySOgbzmj1
gycr5bOYg2f1p0GuHVUSeZVJnLXxdzWK61wqxtoMplfYEi/lCCP61Klh5jVjcx3D/Dn2g5seNb9j
e0TJzw08mzRURfP6+J7eB7hUm+xgJV4Jxr/B+Ii1V1HoEByxwV435GjRBRZj3MC6a+pgMrI4xhcV
YyouxT3S54OiAFc1HT5pW38q4kJZK6mpbOqi9uKebAkjofivu+Elx56g2gP0vjKwVwoeHW51VUlv
Y6n/9q3piXIX2q5DowwFn5J0yNmDDk529z/YO4/lxsH0ir6L95hCDgtviMRMUaQCtUFJ3RJyznh6
H8ieKo83Lu+9UXVL3SqJBH584d5z9SfRMMMNi46MSQPvwIy4KuPVyRZWVERSsQjrx1ulVnbH0Buc
qVPBmlKJUynEHvsc3zEQvCn7trLQw65gK5HmjOAsGzZLzOG26pP+q+fBXm4Qe1eyCU5rNug9vj0m
XpOxSZpd3zBLWFM1JNS9gm00Iha3ZVNo30n0uUy3ZcAWNA0vZjseiXXdmYboqTBmV/Zry4i8pUQb
JtyOudHoB2QXqh8j1Z8jDYEJAm7ZNY31odH0yhFxqtkTEHZG5pzQTO60TmWMilzJmRG97ohgn4mL
6rdtGiDE1gBu4GpvnoUS3hPoNuSuadIwMCaTBfymROSABfNYMVvHHORwOw/DXupbFXLgFJBCXrim
JMaw6mIPoSbilfUDE1x5n8UNNZtsdREKQPMp6MDUAVxrHTIQ2ZnMSuWOkQjWVR3TvaF/Jrg6EGis
n4rNt2Jg4EZofHb4/YwWWel//mmQ/3BHJIdFK5jNh5JoI2Ae3LBBPxZ1GcfnZGXBPurl7zqUBU+W
h9h9im32x+JleW7JMjKwSm6qrem0p/JqkVrA0M+mZAwe8suylR9J5bZOc8pO00n6zJAbH9oUDZ9j
PS2o8Fo7fcw37v36CFJo+sHy5iLxy48AWR+b8oqiTXwAnlAv0Wd7VL3p1AOXPZdf+YGSnTEFnM13
3iP93Ty0t2irOrHK9o9z/mJUcJdgK9voPHKVF8pGdzGqTtPaxll8ApIjUZ6uMuA95Swa+IgBubGT
ruAP1wyYTfOQWpicR4SB/DeDAtEmokf7Mp/Mv+au/o6HR0TKb+KoIP56/uPwU0Onex2PMrthVngW
WBCqHjtFwne2fOO1vFPIh0/mZnpFfeiLl9g3GtvgIVZQaCg/2ceS+IVtfi0fCSo+v161ZlTa5AJR
NjsYl7pDt4WTB8l3zcPel8S14f0QLdtMzkRXNJoPOnlMWQR787idTE+huhrZ1R0kdUdi0czd1h2s
wBZPrI45SzXWsCpEsU1FFiOc/HX/shHcUX/SMAHw611rzqZD7o5ubHoRq9WRA4HniQ1QeVqdXDaT
lPAt6/zK0ShOzyY/OVqAHVbZ5l2ufEUiQdMuZ5uRW6Yhl91oF3lvxjs+nGD4lFC8WfaZHpN43RkZ
kW0QNc/gBZjTKluZ10OHXeARnMUCJR/Ya206kC9ufC15taguv2GnKs2h+WITxtvDUGty4dRg5c0u
lr5Hok0XohfP47CbrIdw5gizzpq21x8C0V1bLotc2K2iFtIOw5txVv8OyEBZJMAnqPYN5MAO7hI1
o3k3zgWr7eRsxgf9r+YK1+U1uNA/tY8mp2t/7u4T4e/pJvyg9H0vjtVu+EtPVsC7/Fa8+Kyf8k80
LSJugrfxha1VrNvWmdsGkkO5RcBMZmr5UnnNLaLVInjrwR2gfOU0a4nDuJI0aQudERf4CzYUFPzn
9EWjVEWRD1ohca3KJUT7bcDdO24rfv49P6/Yn5Buck9SQglIkpH7b8h7tNE+GbVfv0h4nkP2Reu3
HgYsaO9laSO7NM0jE9o4dYmV4EU0aCTPKSbqo1S7xiHYm3SgJn0N75TH96hThzeocMTgtU9fEaTm
uK8IMegPwpdauPFzKIFcQMft1xRiZ+uyRqejT5pO044tfYsn2+PKBYaLlsxvDj1Itz1AilMSOlQ2
2V9c6cm7aB2zY1Bs6W31wC4ototd+cVGLqCb2+BOBYVkvHNdka6FCwBVMWIaRoCcGf1X4qpb9kHt
MdoW08YAb/ae+ey9KAZowEaXmTZT0kvnBzkqcScl/ptEzciW5Y1g2iNGCXoGNqrHmoa8cOBScdXQ
ojIXcLOPBvc6c01CHa905IRoovPB57ex7qZl928lFc7kY4/btbb0Lnmyr79kPsOcB67EhcfHLjvF
nvJSMFdwjeOBbeVyG3N3eqqx/T9lV/qZR+clO5Lv1FPKMYYf3WFvbPxdh+zb/Iw07n14B8H8we9w
pdM1i220H3wWomHFb00iK4uFXUkk6SVk9t3YIhCn0hPPwTMinI4V64YWcHRoy7vn9iI86oN2Q9zS
vZtXq9x8RDt2EAxSKBOuARoH4HSc2sMtmT3TZ+0Z7CzP+pLd/JVHaPe0ZgYeJ688h+fmD9TRmUzC
Uxrb1oWEIJVy66X66h3txAmr3pUzu78DyFP0mgruQJeNMYr8Wdxm6bHqkAU96Vf1ZNzKV3RPFJhs
aXGCBlx12hYQTebh5T00O+mdaJvlQkt35gnDKIQeMf7qWFQiIwvdiJuVjXEP/93Oc6cK9rzuJNW+
s4wl8Bce2LukuKuv6GKetQ6Hn2cIPhFkkbCdJI/3KYig12/K9CpOxxI8YmLTpA5MFHqvODFWYUWW
4LYg+PZvW39RVVi49bujeo3uxC5hkfDMq+xbNxA+YBZLdHaswldOmx27yJ6bHZjvVf5+jLcxFYF1
rs8NG30VFzXD/435A2KeTDVlE74tf/Lz7zGnuuE+/2C6AoJT+sB/SFlkufNT7pf79BrGe0X6igRy
A6/heIo/ENyP2WFZY5KI/juY+L4z/cTh38/kCaEWvffAokLhB4eHbxpumTxx/lgYRTMMo3vwzi7A
szeSYOkIxlP2YAKhvEsXBiCDspEu2W7x6ivoLwLq8mv4wXOJw0BRPq3BI9vvUj7HpC/+6bywtfM3
UcTi7OiglHgBxk3Co4zzMaQVxCsiudnLVL2EJlW4nbIA4NmCc1nyJE67R/LRIau+YCqZr9N7ENwI
bUaD2+0UrtgEXUvj4EvrN8FHGKI7IuvYrb7ql/KjDI7qaxU/J09mRWbCVtsmD43CE3Th50SoM2Zs
cBCoOfbJZVGwILjDm7StPNXvcW2yqLLrreh3O9rT/hSTXNogOPX6b1NzugLFFBAIMho2/cO8ics5
uBVbgjwf/XdHbDZVwB1AxQpcbQAsbsIzar0XQ7SDp/JKVu1zdSRvNf0k9rv+Ubz+o2K+8TPv809Z
ueYsWWnqQNOdhsOIgI0i/MYzL75a9vw0iL4W77o9WowPFeTTC6c6dviC78ps7JwemhuMQZ4iytZ8
RcBNaJx1YaD0qXjiN3+RiHMMd4R3R4xYJz8glY/FtGQHdzKBioP2DMhBi/AdXvNvFs7m4ObfGuLx
9LpYh1TygDaxDTPO7FqHp0HfBTwWZ/ED2BCtwtewiDQn4kYN3xcAV1AhN8R/lTAguPViGttR5aQb
sRL1ZCRSAtVxQ6PuGqxXW2wniS/JG/UENyx7h+MZnBrlp23+NEQ+PPE7sbsyyKLYhcgCN8WloUi4
sgRngZ1RJeyNzm0a10rtVYJCjbtRv6GYwx3V0MBw6b9gJOI6ju7Dcfhr/Bk/yPNNES181d90jaSV
oi4Mflrdm3jQjPTMJHhstLdwQijLU8iWfGO/nPB7HXM/p7p02P6O55Qyo4EMqSIYgPfnkMsMHOQc
u4u4gaCt/hV3lIixv8rJDuqp3jLw43ip3fCcPYpd4gPNbL96VpqMNe81KaIoXTY8KS6mX59N8yD6
0/fwbZ65KgVc/PflFJ2KP9Y9vHQnSJrql7WLX5sjMAHm5/XrNHtz8SMtTzPuxcym9ZqTXVGSCeJN
fwzTr1hTWLQyiBy40IUWb26uwGYIZVudZmKd5dWGMNUaGl262EgzxMMYZtIBbwNfkMTuNOQdCuUW
ei3QWXbO61d/P/z+u98//f43rKoc5KgBOZR76QBnQmL7uP7rErfwPpifsrBD7J5E11aUnFCbUGeb
+NwizpmuxsBoio3sEjmn0FSFk49dXHIS3JObyLQNLbmE0cSNnZMGm1dS7ID5u8YWlnrN5GcjT9YR
1Fz0sJJq28UQrU1Q1CrWErK65CHNmR/BkARp7cVyQkUlGCzVZ9FtDZPQ0UZkGGVp/MpBtIr0u4eU
wpSo+3a8SahV4rzIvFpmwi5aFNwdiy2nDnAZZ3Jzw25iYjc2P+WI9PhIqJxwVhwjQ18JT1Z2ZMto
WPM2DM3lIPeUeIpe49jTalUFgGBIUDZQiQ8KhuRaA8pck9yIJbvsnmuqI1OB5ACObtNMkFGySaVd
a8eD2vNcr9KFQYo5HvBDXIWgRq4jSsEpapWHri5kbXM+JH0KznH1sqhC8ozlZI/rDz4u52hUHwZF
dKQl66gfqZDHMsBmHXyo4Av2nYz4rkR2j6eDMnzRPGLfxzUKEO7gLg0P9NdPXQVVQ4Z/5sxyjkwt
zulEZoqKvFN34WhB1TAiMpN7Lxow6hvhMaimdz0t5N0w4uzNO/0pSD6zviEfwpK+1QpFoTYAVhvm
JPHFYM1rE/wE2eBDNWlWINjjFDEr6BJLB7YzmJ6XEPl8ob3n/XuL4cWexO5RrOQkiSCZJLjX2g+h
I80Gtf/rEGU8V5GzMFOzWKsbB6kldVYQEOqJBT9DPoMSnVSEXaZA67u8gdoZtt2EmrcWo58l0Bgj
0Q2ZIejtcYi2AbO8ul9eagOtRZ8IrV0LWINDfWTDEI5vq3aGmpPuFPK4bAU5E2jSRrCmuzq5uSqZ
GnacoC9qI3krVoynY8UCY0H0cFpgvm3kQ7+8kdT8NhTRmbxrd7BQxTZD+dZ1NGO//zdPtB/R3KVS
xWENJ7VlnhYbEy1/Zl4yXaw3zSzeOyR9xZRu+9rVe3vF2Yk1T515sV45lSO8SyE/gfFHCtq3UgNp
m9MQVwUlqlJ2L0UtwNBWoTkYo/XVTIAYgi9VpzSOh/5glBTMVc4GAXu5pT6sTHpveiaOKR7iFta2
nRLsDsXNCytaBjlihZLUseHGyCWkJg93zxG+4k0509GR7YgwI6aZQVks18YVceSrkAD+GwwQPob4
wJT/lUwrcaQIAFszD8q7Hdm1+0aGqGolg0ZSKRJDwtIShSMlE+mWI+Ii0NcvLjHhkJZmuduaca1v
rCLW94PEA8AI7/2kRr6h+AN9adLhhJIE8TrxmGpxhdhCfA+i5BOHc8H0yUhds+t2coZrSmkrnovy
qm8emFsIoVLs2pqJHkSN9WR1UVpZmyboHVFh3xb21cW0ims8Ni9SPa9jstlEjCRtIql7tkZkI8TX
v+QqjORY1ulkjJlsq5a1RdDhfEXaJItGuK3QbYS64FVSecWryQnWyMW2USlp0fvh6k37N9yI1CMZ
uxjO8Pxo1a+KSYuG6flh4HXilQrms1pgqA3NO+iK46K3DoFVKYG4ol+W9NITQB1XEyBlJOksXyr2
gIJIco6OdG+Do89OrQUeQ4rP0CTPC+LPZ53RuZZR/oLxAysj75VCOuNmntA1qml9rhgzdF3wHRGg
o0D3q1DH2e2Mn10nusaF+csuXZ2AMRHCAlpjopCtuoeoH0KpOrPX2FZoRTH3t9/WxOI+bx20jhT4
xamc0aOFeXiyn0tT2+V1fRMt8zxVRFSPOpu2Thx3edP8rbK9NYufYZjzOF3lzSD4Yei3GcMmI3uk
gtfiyts0WnTK1thIdgkUPLQ48+NTn63Z1kBLxy2CQojmVGeCfOx6piKNsPaq5vgcIyneoHu8ikgm
tUzLt0rN2ncq0VuX1i1sktzL+pkHa1pt23bZdToi16QRD2UjYEcSs+dp6B4DqBkMjgvliYwfUqcm
yovhWgrC5zT07hzhCRgK+JraZZyskHejb3H50kripsMAMXkZVjZbxbGKFlRutmBr/IjMKxZnxIeB
FTac0spfymnkUxVjtWYcDiRVwx+bnJaYrbQloageMxwa48j0d5D9ltNso5vpCq5UztIiv2Jf0H1C
rjAXZyREFsvnogHEgMSyS0TpmpvUoFlXvYxTRhOtd7dJYYIbjMa15zq1Z8yezEV9RW0xW/WoDyd2
raFKWzUYmt8GlZfWihPE1VZRBD+uGPQpmfXLNNspWXUYzPgm8Pu/xgzP0zJ9JyIg4kkcUS3++sfI
cykQy+/UQSQim2ANWUFqOyQK51SjglxAl43jFrNGFyBGj4W+3CVkX/QLhiwRV7gXFMNwIU96PyTk
VOgjKIFQtpxogUWjsNexZwZAYLppDXUowikm6HHKM0yb6W4R4cKV5k5Nut41BdwiUZ/CByl1R0fr
NaLYcMZottNFxkkg8v7rweIpEX3ZahC1g0R4mtUu32mVSpKrWdCyQ36qS4OQ7lH+GeuBMS4uhPE+
CKLmmmRY13NC69D2p1aO4GwOkbuoBJiY3a3NkYMLXbMLenObGTEziEa7jpgqnGpBlD5Z55SXiGB0
41iRXuNUiEcTllZZFt/queWOabU3eao0W0zzRxqIL2MTYUDSMeDE1pshhgz6hsnTlJEQPKvNd0Oo
v6tkbdhtIjiahK5dBUMPZwBR4qq2LCX5Hasi8GqdmYC5zqw1OXteBOEQVcutSdlAcLBrqitV3Ma5
Ot5N0GEIC6W/OOuakwpCnjk+kkjSdHFrd89hi0vf+NLlWHTgeBFrM/+AGsDXra9WXF6hUlXdfmK+
JglUbLEKOUxvZ0TY3NVG/ceoa55sOpdE1Aa5002t7qQeMIjalgfygApZegnEPjwOoAGAxjEeDXr8
2Ul8Q6LXeyxooDGbqIJqVtnpgARi8eIMFvbERmMemWuEnXGCCY0CQ6pOhjjNIIuuAcGGdjcvCzCD
4TIonmDK7OWjXvGXplD3bT6q+98//Y+/TlmJsrukca3Tr5jNkCsptbYfzei/f/j9nNnMlhuL4UeY
AJL//YD9KloPLMnNK6q2QJIx25RgtfXij1bCXbFwrzuDKIgb9JndXosGJnwRmUghUW6YXJXCwZTk
IqpippnRuYUVimVofzuVqZO2JuakNabb3w/9XF2FnBCzZQ3RaZMZLIyslcZeBjr4nx+KAv1J97Bg
lO9JiPyvDzHyAnXR6l3S/jPaNZdJetUI/yVURXzOR5OpmKIVT2Iwyv7Qa+kxq1PV/912/79I8H8V
CUrS/yoS3H837ff8rwrB3//2T4Wg8g9LlMFRqbB9NEsx/ptKUEMlyOdN1qAE/vCFf4JcpX8oumQY
przqGgxFJSG1hREW/fu/KeY/LL6bKPIVUZXE/2P0qWzwrf5FpWGJGhR2E2SCyRc5Yv9VxyDXTZEr
vYZseiLsIpqF09LhfQNlREvTNKPdEp+3KRoF83DOQLDRA0dgAcm9iXgnDeo7KK3nPqxFJ+mS9FhA
miINlMIybagwJnzGdpKVidcCKt+Yvf6h5lNwCKCRN+WkedK8KPtA03eS2KZIqHUWMO/JmDcHqy1x
feYqTtu8jx1cmrlHBCZyd3ldiMTKfKs/Ayn5aswyQTQEX0Fl4F+Q6HMkDuRVpr20R8GqD5iFAofS
FpBEIggwh3DA4S16MouuO5tDdjcr5iDa0Pr0n+0uRDYuiOIr6k7BjXDj2dE0/4C4RrfDQoNYbxmZ
Bzhxdd+pbKKIWG39cMovAJWDO87cP8KYfNSKVfqlaA5PdcJmGZP2rss4jgVps5DLsTdSjn+U+ol9
anIM3LKSnBJQFE4rNqxb2xJrx4RuYob8umvU4p4skuHVK0pLo8QM1HqBsZjkfhOOL3Pf5Nti9M1g
LECZ8J0rnalLmDNznmNoKSWmyUEI38OKqTfP/ntDrBQqrntZJ2DJ8V7nHP17NixCEcW+XgEO61XW
NrEEj7ZcsFIMwV3DErYRRpSLRa/ZWEj4W4M+g2g1YNbscgpeRKcZGA0DbR14JgMOg9mzERXkzjN2
6VHlDzX1ftthSF2BDmUybjpjyj2j4ptnQXrIFP3RWUReKIpdAtF+LsWY1w38hk1SHyQ9cjkZg7Do
X//HqBuCmwSCDlgGsZmV8Ll8KlsHlcVT181bUeblaCCH2y1MG3tQQ2dpXkVh4k3h4dTxcxK7ZTqT
pW6XfnkFpZRttCVzzYSx7jIbza1DiT3GwQkDqn400+44jjBjMS6MzqyhKlAkGnYE53s5nVwBbYw/
D7y8Q/4iGxN26Ub3krliA5DuZ9Nac6ukziW9lpeWiy6WlCMxSKB0gm261CSAaPsyWl7liUutUTOf
a3jyMDMENt6ObjH33W+cJRw7JWLJOFmmHyJo92jCWPNTvRvMjuSyRT0DT00fFeEyg0AtlkuJaviQ
re4zvDrANSEeaKgtx4maObXqhGFmzDU/jF+6/l4l0nDrhTdNQnjKm7rs1R5cZa0zq2gS80iTk7np
Er33lDp7ZVyIEJxDhE30fm6OpShK5PK1NlKPYEPdnzCGbKeSt0CvcUuUUnMLuRSOJgoiVt2mB1Kp
ucJEsfNGGnw9764I5GU/kIkpBMRHikxOtkCWpSaYH9FB+VX5ATsskj5tKU5TvwxKxQf8YY8VFw8s
j2GYbEGWlm2TY/PHbBMNDNoyBYfLnDcxCBidWFVrq6ApQVv2IXXatVE4SOImu1G2hEd+FMMOnxgs
9nZlFu3NhAlkzJiiJGPI3KCfS8/kLaUt67/1koonMWlfR41/1smj5qWCjpSaJRXAt3sWrkG/E/C4
IIvQasYWx2LLbkYakFarFUAA1LvTmp805NlXPNDP5HPyF2wUS5sQBF2LnCPQmGUtIm9v0mBf510A
j9jiP2sIcqAStQdITlv1JzTRZQQj77NpLTBkpP1isCHQYis7zt2qPzUi2l9jgGEjMZVXqsUdGlUB
f2y+YgHnEjUlMpcLdxyF71RMX8JlZVMKw07J2ThHLRmUGG/Cuvw2y2JbBeRRySIj9Sj+EqYcW2WU
bZlOyju9xf4vl+lX0woYhEJvHGLFEQ0BhHMnAa+tuIEaOb2UHSxrFcQkmhdCCbTe9NJ4OmQNEBV9
/UdTyPKSUKwt1hjK5zqz/FTDMlLoDAnGRHWT7Zr39SEr9Bdkdyubaaa3QJp2N1fR2eottBhDwhV2
ocsEzDvqGNloY9T9KZUscnXp7ccxQCZRVoHXF0a8KWNYlxkIOmeMw+9EqLZ9vx6q8d8wGk5MJAZY
k+LgEJTptuaMIFfIaXPWYId2Un14WRSLIbE9qkBWdlGG51REA6QXGoSX2PyByS0fdUxXIA31R1uJ
+rGWWtkDFA0RTwnEMzI1WkbAuE2u4HLXM+kYxMCAe2XIPGyUWOFmFi1FJmzDproiQ6suxiDExyIL
yUHOFWZMRJFZi3GdenHYjXzxaIb1Ppea9Nq0FVolnipCKdQow4TgOnTzGbgu+1RMiB6BjH8JCdmH
ghyc5i6a4JzIP4uMKT/I+SWwWoG1iOv2VLdMGJeUo6nj9sQVRHtDUKBbm/2hLacHNq7ZSxdtvQy2
OSEH9sSiJB+K1FbX51bPPsZK2jP+H3R/Af9uronupSQWUBZEpX6OdDxbyoSYBqAeT/vBTtZvN+XD
bWo+B5ENzpAyqDGHiTW1WKde30wkz5TxMwSIVeBy6uew8SnN+IXj6KWtm8jLO2RboQg44PdmXBBl
D1UnO80YuFOJHFAzQ7dKMTyrw4QkG2uEPkmPTAbBoGfW2QhYVFgNXC7BsEcL9docgvtuOGpEvi1X
8bqsmc59IS5bSQ/+mCq7IxSODB5HE6/A2LLNUo2txeuJYCIRt8zYnjvBdHSlvxmT4at6JtvdGKPe
sbTPRQZ2MrKgKTp827M50vmull9TRSnQpcMAxk6gLS6wkZmt9MODWZWk+Zz0s4Awsz/nYHrmFbwV
d2yapbx5KErHhcFpmwbVsZVwsqu/+WKz9JUH6RsZHfIRRN7vo0yJim4vo8DB3Rfb2oireeJpbkjr
9ESUfWC/wV6KcJNglHagGiK1iVlWJo82FoEiJeymuz6C/9eekc9G3mjN/GK8uFjgVv9CyRwOg/lb
JdAGjQLBcbGpabvJvDQMxU+lpJEjIO/FKLJbDjlqE0YdHAxuZIHqy6qdJDu6ujInWQLxLIztZMVs
VeQKHyFp8Ib2a7C9jgQKETOu2JgZeVbG5LK1UJIzgHrPjBD+mIt606tgeCLpCCxpAg6/uJVQfzEm
xy07xHgEZo8WpdeO4IP3Oc/GZyS4rH3TzmKvnSl+2IGfSuABxEb8VKk1RLx04UQNbVNtKkfWWWA3
pmIdGf38TYJiuYE/nKdWvPXTHsL3cP/9MFbJyzzNyXk02uGuTqj/eeAO2yCsM1cH7O6FS4AvpEH+
HpOwo+l8pw7Y9BWeK8gT1JioRyXOwJgXoi6UXVBBEplLkYe2Ftx5JJZnNQhELxyi2mVWbdzFUDZ2
qWpkKLZSVnJLZ+zgROEtqZeHPmmWKxWzQBbUKD1TK2+slXAhajNyhjT1xEJqEdmtn1pd4MUoFoeZ
0YUWdeo9Dbk52rqE3AfP0WnHGgQF41dXwX/n9VE3vUgCt6+UBavSlF8hmtQ/2kx8YDTy5sr4Car6
T1tZGohrGVAo/kqEI3qMQEneNxrIEmNBqAPwGb+HPqHkGMXU6UPU1EPNch2ckVEuxCIv5uZYm5H5
LEkLLBJ9eMkyliilAnIbhLHHrvA6Q1M1esY8wiLsK6geBCxK4bbV9Nlexu6OG4wQepTW+hQbdpOu
4TCDO/aBRcFfBWjm4tcsnBsEIyxuc6GOtjziYg+9s4RmWXobRVa8AFF9Fm7MpvuSHRJETEFZJ2aD
vO2gFyxYA8Jm2iQ92wPrUOS1P/HU2klW8QJjcvJTxothFW21XkfCwCskUS5sYev2ZxqOa8G8KpcM
HnrWIKKGylHRAAJXWYwnVW94UWyqhGIySISids8nVoLjSjxZurIGmhZ6DQEO+1qWvjIOCnSKHRYS
Bc5HpquHnvuGVD8GuMVSeQXbF5NXRAIbvSzJO9kSFIhlj72o6lgXx6KwmXSWtlPfgX+a0404DX+T
jxYX75VaBI0KF7OZNkdNuesaDCaDFanTrRUKcNRjIxt3/Nz1pV4KX4u0L4pztNaLJfJW9/vUGr/a
tFKuHDeHZqXBpfKo2LqJ3MGSwuZINzVJukjdIyvbQcAOnyPls4z0J49QIJNTzAqpTm9iIvuyNu9M
apONCZEDDpL5rencGyLdZN5OstPWKEoF9gX5eJ1iMd9OMrcuu6k4UuaN+h4SW6eEceuD6ywdMJfA
+ebFaajiHK1Ibghu382KdyRPUxyvOeIucxWWDeEJKhnl4pDdiAc6ko31Yeo0K/HU3oYiaJx27v6G
PHeX0QCLBm0DcwEK05oGNa0YTy1ThYY4itJtPBgfc4UWZ8AxsGMEubiaiiNJ6ADXZvlom12KqVyn
ixAzUzzKFBL8diFLGjnpj/EyOOEoGLvW9DJAmc+E+62PQYRrI/kgVhj/VGHpye0C9DMOqk3NIqqK
/hrGqPldhkIPwuG0xTY9bA1+YtShPLqDNBpZa5GsZE8ZbZqKDJ3ZmOECPCAVoQ9e0tVkMKTNbloQ
bsTpaB0aCLZWH2Gy5iFxHxbTB+2eOasVZcXxOWSLoJEJq6Mu5R2RWOrDlBXYdZF8Vtn0bFNABBBI
cEG1wKJFJpm6PhuOqsoocQAXXsZFvyCUj7lQyk/Kgz+pgeAJo1xk6Vu4icuWff9BNNp7mLL1o4T7
JUyyG0v7DnaIxC2vCq9aoQn+yM2F/IDjIpYjnvg5jhS1wZOQ1BJCRYlDsmWBLoTIjAvCcX0pRTCv
E/xiJwZD00WWT+0Sp0et+dKNvjuoUX9SanMfJzh9ClmPzoXcI5lV83pnxZwPfQ0tvB/7yWG0NNoG
0aAAyIVtKVPlpR35WLiieR7tuCIDrlDpFAgGy3xJ3/USWSIF1A6AIAhsQ+JXJNDXDgXWdwFvdxGm
dMcBDAmDO9aJBqqwsYN82ycDkfCWeNfqP2bDfitY+mLLUoqpP35DoeKHE4vCL1ud/VQPOpVGRl1Y
14ULvrJCsvaThS5VGxXZSyMe5WFP1agGqnIoVNDaci/ZdZM9StCKsw7FtilLDxa1bD7PPXRlVTQI
HGmQVlfRBC0AMWFfwn4kB6RDtEOdvYTNfoKQXKMumNtDlnKUU4VJImPCMNrIjRMPI6Q7drlG1rKe
tpBJFIQ3oPiVToxypeuZkDmWtsSbTtbPsGYBMCm+1soKZsZjxpy2dIKQ1A5lZE41oWZsS4sYEog2
tiCqt5wkX9tQKckXUCC2PL2BNxP9HryYJDFBIzmGgmH5VmVkwrEefwQU4IVQWD7lyOdAnpitAS1z
AMEEuAkw3poFIiglo5nQWpNTY1H/EPwHHr1vXKIdQBRHX6qUSyA2JsHpARfYJnoHF3QIWHJKQ1o/
t8zD3Bv6y2r66RqoENmUbCVKIYe8G0x5kva0TAjBEvbcdlQnrzEUlk1PaQCzJkWQmLIVKI0PJCnN
I70UKuCcoETllOlMqhfhT9QxlmrDD0nhG1jU+cigS0DI6MQsgpAMwAfOgPoALwQntKzTHITJgsCa
xUnCOMtdZ/jFpKkeHSVi1IWiSWlFtk6C4IZZ8kV0sWXLIqOYuUwORJkQHtuzbGC+xhitCu6ztqzp
1/nbbxeX1OiABeUc8DDzl3BG04nkHVKc/9tKmG3Ad6VijOqXriF3cioNyx3DaR8t11FmbCOUvWC3
uJJm6CB5y8Y0TGqE30bZ+GoHRGOt+6tk4SqqgwPtmeYFHbdvTVW4ztCAECmbnFENTMUKcDHBNCGP
fretRxKTcn3YtZ36lQgD7f0o7tX/YO88lhxH0i39KmOzRxsc2hezCWqQoUVmxgaWlQJaOvTT3w+I
6mJ2Tt2Z7v1dBAyKIkgQ7v77Od+JGCMXRpmj3D252bMm7M/NhKaPOHdE+zX2BphY4VKqnPoGhauO
gHzOnWfZpto2HZjVDbNaHEOrfplgrZy7JH8IJpCYWbRIOlUOGKgK7jMGTrd9OZHUHYTfBgJN/UBl
z1Y3Zbgqk8fWwdDLLPmlUWjAWgbeO6okmFlgIG/IdZ6ecjP+1IGQNZehRqaqsyKU6Fw6yG4nmML7
TnR+ACZ4E+UosK1qfI5n+BBcIyqRxSWcCmQnwj7/zwzGv5NHZ5jCxJT+l7Vx+7X9+ifL4O5r/uP/
/O8Fc3D7Y4y/lb/NYCwP+3MGQ+jmP3TdcmykC7qzkA7+4hwIXf5Dx3mPC4jhqms41zA6010epFsu
j3KXyQV8m/+cw2B6w5DC8UwhGQoKy/tPOAeelP86hYEajZkQGyumbQPLt63fpjAAvWXzEBbJRdHQ
hbUTlDdmBQcgzcZLwhQod2lNb4hqkDVdQ0m9LXKB6WroIaJY1bs6sr8BTMIOyQhuaEZ/JeKuC9OK
RwgJHo7kfHrPhVH7ZkXovSxqRRl3WS082YvdutoF1D7WtXWR0vLC7EVAAM2OYACDGfXKrB/qvCNW
jklEf10IpfDYr6uVdItTnH/3yr7w5YKhXRfuX2vrZpeb4W4SSDCCJRt7tiHVFgPp1yWzTIxqltV2
tlD055iAoPyRVD+Bt+oAMvrXzXVtYZMTGzMfYxtEbLgszCWo/LqwO7RCHXjblMgSQH3tn4t42ST9
T9vPMX7QZX8V2OMGU2i8qfuF8IaYi6Wj9WiG+7J8Anvc7IPeXPiKPZjcj1W3M4ZTOoJNaii8mwrK
Xc3M9sdi3Uxi+FsihlKkweE5E66I5FS5mG5sLRnPLiGyWUTHxQ6C7Vz134nbeNA6c6DvUSBhkvlt
G3X3TaKH+0n1B6+AJ+QuORNNF7eHbOwXvdNBBEDwhJe/dBG3pipq7gaBfnsCzahXSfgAzK4m2ZDQ
keZsLWtdHpYAn8RXRroAfLRFDG71ezNNtRstnfNdOZAZhUonyRT+2GX6ef1uEqd+JQSrDmbsRNbb
+v2RVBoT90y9pX2wysGhd9ziPxo6imMB0eIbxug/WmIcd04Qdz7Xc+eva/Kvtes+sxrQg1+313Ou
m9fHrft0GVAEQslEK9tVx+t5/5+n+f3w+rShEWFxW1c/jqPgnpPml/dqr2/ut/ewbv7n+xqG/igI
ZyQ6y6eyLvJG/3Ptt309Au2DZst96YLR5fTrx/LxEVy3fzu8buLuJmaQZIHtuhkNojo0TJlly88l
Xn5f66L4azNVEbjF6/Z6uCmSdN6sj1mPfJx0faQVz4eJvIFNRKfh5u+e9rd915evJqKA//Yh13Ou
76Zo0W1ryAm21xf/u/OuL6cxGtg3qbxcd10fet13/d+u+1Jl3DeMsbjCl8+ECe5XwFnEAVGM87WF
hlypstF3neAW2RgarqvfVw0vrmBZhvcJmJe94dTMPegC+YMD4Yr+GM9xfbbfNtfnQiYFvmo9Ivmx
4RddXnwKEguIM0Dl5aX/7nHrvo8Hr+esb+TjGa7b10f/tq/MR+OE9Lo8DdRwuEO+I7tllO6jgat8
ZmJGeODLdpwRkr75fZV055IrbLmN/n6IHB86W4d2uanHYAGZFVjmjeIYi5la7vlMKRZ+szYJv5wE
OY9T12P60nBcT103O4dcmym1KRNntZ8tC8/2qo+FEjF3aCREBHlN6nE9sJ63rtlqXJSofz1kffB1
8/o0w4KFXzcjZA4oUw2bAhqfTl7Uvb+urQu7lD3G2LkgzuGvA61aHH4UiDtojT536F8Xf7evTbnv
NhBwls9kXNvBZc1YfqfrvnRefjfrkVCMx8rqxWFsU6ZpY1DYTNh6TE0W8d3vJ388bt2rrZc1M7P7
xMgiBPwQ9ddFBxB7k1chwZeRW/torv5cINDnprhsrgdEqtEPr8D7NmN/0rVI+evCACqQgWUxvJ0t
w8/j8lGZinmfSpmaHyJt3qGwQN0qKDO5Azcnu+P2N5An+sti3ReV9h96MS4YE2P2RzeY/X5ZMGUv
DkWvILYhYkoVUqN1LSHFp2cK7DR1nu0Py0KMLWADxE2Rng+obXuj2YfW/NQEWHInNOxg4Llg1u93
Wr7kLCCP7Gbd2a3Xjr00ghi5Mqp/m8A0Gu7eDurIdiCOcP0k1g8mQGaO+tg9BLNu+RJ4nb+uRch9
P9Ympyt3aQdDPM8LnJOm5PZgzNbiTkIR7etjw3ZENAQWHZImplodjZFi22jNwzMfVOnbpsaUaYX5
2rYbE58hfAKizilJpBGahhFdJI6AWPpZ3jEgJR5+M3q4IxcSOoNpeM9Lr85ae2/p0ptbt6mr/XPn
ur0eWRcF+i8IfczjIzWHHvyxfT3+y0nrk6zbVKkIETHa24/XmekZbon2Qfiqmc+eGABYaO08LwPB
yv9IWKB34zNdCLdvMI8iPzoitE/GcnxdrAkM65oyk8XStfTE1kdez2k1nSO/nX49p3GYUTVmPaDy
RR7Eupi7mHvquspVhjW9Wrq7f3t8coDflKWH7v5fz1nP/jf2rad8vMr6kCAevocybHbXl1vXrv9q
Pw5oKqecIsHyQayf1vXf/W1z/UfJLLDnx3ZpFa4LsTRC102mGko/WJoe0QZ7sxkdLtilaSnX1ux6
4rpGVhHt2vUx18MfTxtnZnH8baeLLIQ77r++7HrOf7vPoQ+/oSK0d/SQOXfiN/110YYNT/X76rpN
8tOfJ/1+WNk2X+V/f/yXJ/391F+2P1Z/ee7RGPnVaR2Zy8tL/1/H11PnuCxPSnz/5TX+fvXvX+n6
ptNJvDD/mOx/eQfr6vWUX55iPfL79rrzl4d/HP/l7ZjZwVKMuxKNDInrIvtrM0cTY9Ua+I1l13X/
9VzX0rGEz9n7dVdgtYZv2BmGtnV1PdJlnvh4iXJihJjD4aHn6q+LcZLMvi+LNLHwQa+r6871MLp0
RsPXM9e1KIsIFslgaybXw063DJbX4788nbEEmRhDVWEAXlbX4x+vtG4nzfwyVzibVddJakPL+1of
vq798pzXt3Q9zNf9pImiRXc8aghRjLf1t3L9RaybVugIvKnr78LpE+JUrmfpeeWinKcXQnNa+EPf
MByO1h7QsPR1rguUf9FGFh0ZQGMNXQtbVusnJdzhdaH14Hdv1tV8Tm2dNDYOyR9NZ8fUqZfxbLZc
uNbSPUPoUvGF/nMzH/dJQvCOhwhM65SvvOidzg4VhMlEGoNMaOqs78ygIihZJu/KEJX4c5jjOSu7
/jOuyfwcK5yWrbDeibYgCX5prVKehgk/2aJrapb/bh2+XxfrCH+OGyBwIc0MASjJWe/QL6QhHdwo
NX3HpDEHEgwaIUH4oHeHwcLQz/9i2+NZWe1e1+mEce2IJkf9hn1q1gg6a9L769h1LUWso9h8tIdd
7VAtlwPq5f8p2P17BTtHQBL7fxTsSvLD/9fma1NmxHP/a9Fufeg/Zcf2Pyzgo/jxHNs1DGehr/0J
J/Usym+COp4ugJd5lkll7k/hsen8gwtTmFyPumnwMB71z6Kd+Q9OFZ40mMfWhbT/IzipKYwFjvkr
PFMKyzBN6dqOASTIdBfA2i/cNjcdyUTJVHKMdduC4ly9ErMeHPSk3xWV0T0mphs9hsngF9TJD3oL
F9isdPOp6HKMYvnc+Ta2lnQonCfKcHI3K6PYx8woXYYJOcYAfPeBACYvxNjtdOE+pEL4XGokkWTx
kF9ICa0+mc2tBGuZxvr8DoIYPoMc6juD3OpzSp2Hor6a8HkI97GWJB6j9YQ0CKMzDYl5nkRgPnmG
Nu1bQxhnu4zl2ekJORaUILdGRM2/AgWM20+N31qp3UYebpg0d7IzdPrsOI9BTvloGj7rTbMNKJR/
iT1SUerW3lUNxjFGEOWnaTIIoYxcNHfZcq8JSZelA3UTaVN127Vz+4rHpSP/qbW3lVc5N44uotcC
52ZuZ4csn/Mz47K7aX6cgsg69V79VbqywOLGTGM9Ih6Lbe+SOHN0aDoNMQJUklbcmdTxJTNpO9eB
+jDn/UXml55Q8bMKjG3Ah/Wmt3jeK8c8JXJ+KZ3c3Gk2s8tUkH9og7crS15OV3C/0bQy75iNw02N
WilCnFDMw1OHyXXnQsx0jU0cWvm+0IXaa2SGEHt0SVQn3/Rz8qgz4f4QdrASBiIU85Ey1ZQnAyyQ
rjyi/cOctFcDinVJszCOvXiwxv6paHpxl3fJyGRKFh3APsyGc9Fw2+AnrkHXAL9kZic/Tq1nYNmN
5U1nNckbNqEtJZjigbgVpidqUTIe/M7vqD6mSW4d8ScCQZIYaZGavihiJZudqxiDRereM3IDE3cA
IA+hIn46YzxURos3iC9n38roYOnT4ibUm1M21sTbkV1yU+SAqzUmpI5tiitFq+zoLAbtZ6n0PypN
n45TWJuPOoO9PjDRNBWS1F1ZnUaedJMFzJG2uhP6pgEKxYtrojjI4NtrQSLhxHgkbOGkfTAr6Diy
zxVjLrAvpg6gZFm4c3vGbBwfo6JjPjvFXkbOiU6J3EfwBYFAPs2Za5CVMcINNe18qzLyRWIreU5j
IvW4snwvQBM6JBNwgSB5iE2NMqnnPI4m8A0RMY/pLGX5JseMzdvIdlKHlcj8/3BTofF7IE8kB2fk
IvDrdb5+VHjkAruYzRCvteX0VkyGtu35yEkrmOtDEizfKXajJKCcZ+Qmxf6JNFMX4oCoku7mZRiL
7jw20R9mQHxiU8/MKjstfKAk25Y6FHbmwsk6bprjND+hpjvXdeU+uHrOSF0s//6EBb4wy+Y4amjs
W4v0E/R0clcFbbwtC6ycSlT4wHvi4+Mh/aRHVvMgCaByQnjigWneGqH3FmlBec6GCOMBuUS9E5af
8xLkQqMgoXEHvuW388luQ8AKCimKIP17Ho3phFuDiztmFjOoor2pmdEuKsqMgX3gMFNMeHySRC6z
r0ByCGH2tkGW8kOzuE00ZQWQKhuNOzOO69vEjBBqF++WxTR8iUmCDAM08K+aBHpqxd1taSQCuHDj
nWSX7GD3t37kkellAxQuxgIFKQZtV2A3V2RE+vosP3uSbMOZSMObxM6/CArupWMF+9rTyi9xAjEH
QE9Xm9VtiKjjziEQ+6mKCWLJ3Cq6kOdA3KYHF9fykFUjf8WuqeXdfes2xqOV6vcGcbH3Hl5Jspw0
QEiLjDN0+ruaSZTcq90/cKPv6tI+hVXyFg5IWLy88nbFtuyT5IRfz17qQvGpd8lCUDmztlkTk8MV
4RKNDS05JpX2B+C8AcahcU+A6d6KzO7W0Z3FpdKUO9qh8uI0CKWm7pM+cecXP3Q3wg3M1b+LdGwr
SsKxLpZKQIgvFeX9jPG9Iwcg7q3ARzy4sWr3K9IK+WYGU3BnNcJvUmYjxioYFvd8C/SGME4n14Ce
UQFDmpDsCa4cH+bIK98Te7DumU54nYi+yFFqvpbuDkkisWoCApQhkn6vt93PJJbdnlBKoJOqjC52
UdN46HN8zFMCm2oPVFRMxzIetbMXRFs6relLM5EkFNx3keG9YoX5nLvduarcZDuDgvARSJE9Ajxv
Y9h8tHnu0tLOdXNnRDjnJnSh8zC9k5fzThIZtmvy6dHW1hL2ZyEhJ0+4OeI2Pkqu+G0byOaR/ATT
Mr+HZSTfiAKBWqGHD7GXkaNKhxYMUwoucoqfRj2tD0XDX5Fot3kEYhrZ81ZUsj9buDqPcV18DiK7
Jqg1p1qcws3qvTk/jLOWADuqur3ToNNy4AtAcShfMNaam0LlI3y5EmKMCTYNx9XebdC+2b2t4xAH
DVNCPjh4szPscKDMp7AgMdWLLIGRgVxrzENwq0rn3RAQJHrHeMX2MSK8EQ9znIebhknTJ6QlVjgM
pJuI3m8DQXqDbdgHWmqEnRnEIWSNP41p+pp3qXibxFnvC/k2ZcMTHaOvM/ECG4ymkkAR9Up8Mqqm
llmGy1xryI29rxHphX6pDZ8rhTXQBDtUE2KLlym9NSxx/mhIXJAokQeNbUpcCnw1E1mNok3sOjSD
Wd6Kbdpg2okslT/IjBzZ2fhq1Lr9mA4kaGdEm1yM1Iz3SU1LHVkI4C1VeEcy40Daiah8IdmSAhnJ
m7vOWJQLBCEeM2R/5wbb0gn9iMDcPfl6kHlHfu6Qz4dvTkbO4xyc6zFIDq2AF9HUqXhKs3Drtr08
mzWzZxAqGP4Pje/i7u4s/QlH1qgqyDIi9puJCkCVtqjCS+3cjxiFReQAYlKVelQyOEtuQBdUPt0m
QoJyUI1yLkw6+k6tww+okNERVPGjnmt6BfiaNt3wWOdc2VWoxqdQR+1CbMNLA/cpa8E5gcjU914b
HjQX/lWevGcmsDavnb43ul3uCkmiTARaD5FkcjvOqPtR8lW8nzRksKeX3U3vZcGB7xkFepi/M77y
9oY+b6oBOI2TGvpdnHHtl1UD52wa9T3ftLnzwi8ejH5ujSVZs+jmw9NARA4EELntS6+7752OzmMy
XJBsoHAbkLmoxra2lgc9vOmN6OLY5Q9U7sG+RFYNcmOJ/LRgMwxe82Bq2qehjJZJy+fW1crnhUpE
NyIlSRYC+FOSF2Kv19DwhrQrPvc1TmFubdqM4jn95iZ0OyxDoYuq3FuPfiEeaRgD0VzjIpdfCvtJ
i6zhHqUWxIioO+TA+L0a4ZFI1KMgm31sW/fsZRBEMD1e4Ju1WGbP2Oh/moiZLm2AKrsIZxoFNzbx
xLQhFC4yj1pRbbs4mHaFIGu8bZL2Af/DOFoDdKmkI4BlhlzEp7hx3HG+sawwI0IdrzmV8wmsVyj2
meu85Us6CdOx+jEnEpH6H0aZsdfbc2pnAGlK7CZZCdrUm14t1cUH0wheXK2Jj22txyRNDvcRfbeb
oplPRdWROdPymwcYi05Je0k63wi85rOL/pNuUNUn9X0FO9AMh0eJH+KUVgBTk/KopwTYSjHpvg3v
dulh1wnsHzoyqEAbKLKB049PuVW9RUC8086uTl6f03ZW81MKh0OPo+m2jJubMRzHhzLERWfG4oS7
xDxBA9hJx8PGhs2YOehS7XpFnnWUFd+LBSccaGZ8SYuJGY1pYQ62rnUH8QWV4UgsJqMudEWaiZEx
IjlHeTNMhqVFUWn/KW8S67R2hni/TFCM3q5vq2cVd9UyCjDu55Dy/TDLi5uCWcFVCRnKqPArLDFM
Ik72dZQ9prmV3HLczxxPbJ20zNBFGPkGhHEDTRgEWwGLCTYrnbLBHZBtRNQuA+DhN1WbyLM+5O+U
YHKYE0V2qbukPvWFDnJZW3SR6MMKxkQ76U4VZYt62klDmkcydMBs9NAga5wY8ZjZz41JpoFTIiYj
v6raMbu2M4jJGp5MOYm7xmX0tBwkuj3ibVU3c15NhyLAXCLt/CmUGr9dbse4z9pTGUpI/j0kOiBJ
cg+6e6aLUWf0KuVJM+n4djF9aq0xN16ck9uQc1XWmhUfItM4Mgt3W0jstTwzUli933mTV+zK7r03
6GHZjAPI/dN3SLF/ul7lbZWkTc3a9BtUcn6QZtVDPoSEkyCWhFgDmDZUAM6GuYkPJPgsnDaSrGuN
6RbZnwzyHjexaqFKVgIZNgHRwRGSB5dABCgtC5PPSYrBJVBeRhPLbYCvbqeyt8Sp53s1G1DiZq85
tXW6maOQzIFyGI5OI6ytYYR3ciiKF1EVn2WzJOr08hjSYUSUz70+mMbobI3jc647/aFsde+QBWDG
Lbor7ciARc8q94jD92VW6bSJ06bc2y75XZ0cMTA+Vw65jUbFHEeVdrhEGwfQtRM0gCq1ngiIibiC
WtwFLRaFDCcI0yNcluQcw7Y0mVNM09tqqj7FSHe5/MBJeIUZn6ti+qJyIvN6ayrPyCmdvadGjCZz
wBeKWbKTwNJ66cTbtJvVvvecW+zAsNcGoK11gIYggxnlW2N6RsRRn0Rtfxde0+/GAIsXyWvgUGPc
WGMYIPaplbmd+jLlS9quA+7Ym0igaPPnaUr5xHvxs6T/suuTiCyssP822YQSZ2T9QtDyLi2Dz02k
iPyVeQ2ByYnlRR/4qcU5stNh0tDl166+rVK8tin8hS1MGnM/GQizo8YDulIVR0vIiGhAHf1zZdCx
Ew5+t7i81Sxqgy69FSvG+SGIco9ulP0txlUZ6HW5M4YQX0bQNkfnIIXCTpbS3Lfct/eYkL869vRt
Ybow7jzOapS3VY/PgsxZeVsH2qkaU3VEsG1uO9ccn4jhcvgOp+E8VYphectNuEJKVRhzcDsG/Tsj
V07I+sCfvfYT5kTnVBl2+9CUD0U8HGjF2/uA9uhgUcrZ1tDBKfDKQwdpbc6IdB2gObf4XihqEtep
Nykh1ah1t7Gaf3hYqLdjTbbWWDEISybvkhmaeHFCx7zE3pwdYreqwcAMN7QexVMUNCfTNtp7NA0E
JrdhdHC8dCu9XJ2a4m4sDetiDG52igsypeAia8zVuMq7UdOsdgIj/yKtjA95kBADYpGkkUK0APFc
gGRvq70mCb/Ko+AtEurQ6VW6DxPZbYVJbwepD3aSmYza/BADeAMxqbWHTuJNr7JQJ8hnRqw+efh7
TQOA09IEjo2hXwKZvDpNO16w24/9lB7nqcG/2k7nPAN/nQTqxcHxrUzSOiJpLyyOQ4Jr46Ed9acq
Ix8mkW/pSKdLdzwU4WGAwxVFFeEYgpCBJK0/EedXEcW3obkkbSewO5CIGCTjxkDazzAzL6LhpM3e
o8iVeCi9915BcdGH8qES+V6oVu7KObe3Gs3BSeDybjrrDEJfO07FNGxywxn3aUWRyrU0yc84Pk3i
tmM4DLhy+Jy1mnpDFkDBoPij1bT42criz0HS5+cwiN7XFivJYLsqUO3Iqot9OWuvPYWYGcTJc5Ry
fzEb8zZlBvMm6tr+wE0OiypRfGEFX6rN3iITIB2OgMGEZF82E9rnEEZi3Bv3yPmxCKogPJRc5O1+
0Il6d0p19KQQLzMuFgYigFDgKy1t9R2uSyr4GtGAc2HFJ5kM7cFEC3CKp4M70t8LBzEdhwAfFgZf
76ZODGpNIvzpzC48wcw56qamnka6gAbyWrsDBol22msTakdmGu69MaM2ZZXEwSY/E6vRb/HC7GwC
IG8sSrynRCAIkaNBEUPpwNVg5XfQwAGwKMLdVFAfsLtghYhn0OsjPn1kxHBOx9q9LcpSO2LcfC7h
CUFkSfVTT8CebZjFoY9kQBExKRdgPgmIg20cqmUyIcShtiH4wPqjA11UW6fKHtRnoSQiBaqa5AvO
9yAgomOWBHTxYdt6pSZv9fK7N7aHcaynTaNawuR1+SXS+LQ86jN49ygFhLRuDyoXT/qcQtrqGM3Q
sxke6nfPmktsbU29bZiIx8JWXvJcs5+iKNomSv8U9a35HmoAV7XuHJs2ukonOJEsGp4TL/P5Z4Z7
R8HGFQYCbizcxyzmPk8rrm2JkKIYk+uPUBfRBcZujzCwPyXZQDUXyNhzgRdLziAplV2Nuz7gmi2X
Yq05qCc7bihmwpigTxu5uzkBD15aBTcLvXhT6ePoTABlbOebYUYDhAa3uLeskmrk8BKHqXtvDaeQ
GvpF0i4bYiARQo35RmFXofONt3Z2yF3o8xHDvecFBwrni1rG5UWSrPPHANFCOADnQySlHWONvnWB
+XWPat/bVP0Q3BitCvfYr+FnLhWLHtsGOAg3P2gxog4K+gtvQcv3ddOk+yomcNHlpz6X1MrdPHrA
gPNUmozG8X/ddWPXvzH5OJ9on+8Gy/vWo+F5ThMhiVmgQjBSm/CsB/Bk00YITS4lZ8gguXPScBPA
Kw/q58hGl0bn7nYI008qY9jL7ZIIBeoMj9RHNuVYpgjGxxwrqFNT1sefAQvtWKTDVmOCwJ/EFN5o
S/5qXOcHbzC+GFTNESY5BAq38SfHxauVNm+1/a3vcfutyAWMLD8dQFaULCl/eCE9ZwKcT66T1n5Z
1TAJBzq2+Ksf4Zo9O7ggD/S+xlM2WXd0dcJTqKfRUUaYHKO+VBdIdKhhSjzoQW0QL6UZwMA64duw
JakFN4u3K2mO+N8bzy3oH9FWJAZzEapQf/QVlPWhwgTTT+JhzM1872nFV0+D2DGnIRmHpU+LM9Ed
5pa8Kpna0Z2OWQOJNqM9Ai21qUOXUCKyIFy9Vn7fbPB9gwdPKBun2ZMGL9BM5UjmLQsyvxCMEDRL
Asyij2hj+1mnhLJvg+Bdq5mOtUpukx0mfjr3OJ/xL+01TtKKRPe9LjpOuadvmhqas+r1+4UAtV9F
SK6yAM92JNmgkylxJeKpa2m+XIXBGlm2cRMnkp6/0913Ib3qMfL2diInykbxbjQheXZhOPhju0Dw
ZEPtljhft4keGFZsmxp/lZlbd5jK7b2eOHeqA+A+zPWjFRgMeDOmgjVUurv1faa9M/P/2oyxszaD
ac/nL8tXtysJcEFJiIlhC6FlPNKl5uZaMkUrYrvchroZbb6t6qRVsZVM83DIJ2g19axAprAI6a6n
pasTO05xcBhStcvDHT7HYI9N51PZZN+rsoTzqUBKLBKrAveWb9rZT7fsiEIPQdlRaHap0xTtNmqh
16eTexjG+tuIG1wxcVRq6SVp5JeZBPVFRWXMrnUkI+bG1uCHu8siXHRxYTSB415EQLrmgY7Px25r
LWK3dUHJt0VxN/NbIbjet+wyPYDyuqSLHm0aiV4oI5LHIomyy0ifXfpBG7p7uNmnZV7CgnClE2xf
5AODhp4RoRB800X6VEwNKty4sLf4u28WkRjVwXKPGgoJQJ5fJm80UeRvzBF9VDHBzoKFMxqk1sUz
PQw8Tn/gYv5eWvOhrdyXOcl+BNjm4S+GTN4wkUEr6XCtnKZFHCdM6GbY6d4CtDu+YYHMn/rp3Y4o
UlZySy8wO0B7eVCjJ04TNGYylgSFm1zzJx1ucxCOMEwnvoi6eAXFQPCnrpMctAj+vPEB+RxNYGnf
ruo+AkcgDykSwgdsLCKp5gP1CS6eMHzrrd54BY8D0jJ1jzY3gZNbuwsAtAxgr0+vMjPN7TpHMiMK
IjN3ea27i4gn/Q41e/oFW+k20eh92KSn+JWwXyJtNPY6ljxfL6Y3YxidnR7j5B2xQDCNER5SDYIG
SfbW58kxIkaPfigCAJMpVW4qViSNVUyfMJbBXWtFhCTg7wl3wh6JVC9DWM3U6Rd53odQT8H6Yaj5
9HFdogjmDmpKopidVyvub5sJH7D8brdvTRw9aRO5hnNXf3VxDlC5kB1pkc69l2P5Aq/8c9SnrSVb
Eu40YOia1OF5Wt6JsrB2g9sSo1xKzHpbWuaxKlzD13hwZOCxsxTfsVO07tIYb8y4pFPERYlTgBri
3ukYt3+jmyIdc0fqltjGmnUZMuuJiuOH6lCz5FfPqN71GFhbUZz7lA6w8zyqhzkc3y2J2UpzKwY4
Q/9ZK6pP6psX3eXC6aBMXHSVhEQvLINq47XR1bPlOr42UJaZ+qfK67aA17YRTQJKkYirG8CpIHqt
zuVriuQi0LxXXBS970YkW5tJerQXPeKIBO84zNomH+/CujZPzG50fo6025+cAom+6pgR6ujxzlTI
6voQFVS0mWTeOC28ee8ytAwHawGm2p7KRy8FY2Ewk5RvbSOXMKIAXOTpPpoJ7hnSKKX6Hj6lRk01
ohDdJlfpnYVeEXhTP8XPIeUnui9Q7CTNTgivZxvBJCWlXOpLSUP3XbzNmCsJgurG78niBQHqErVb
r2koGWgF/31EhMNk5qdmto4RYeiHkAERXoXhaE6IqGHkHcVy78kWd4ieWH5XVyNVNEM7upq5CY1s
72D0OvYD7XZVExjDtfYd843aGeFMnzk30DS6lL6oD2w0J2FQKeVt7Lif6RCH2zGo74Erln5XecjZ
RhtTWxPqC0NJITedvjAzwRAjwYNiTyG/jUBPzsyhhDtVQgjuF6CgrOocAbN+6QPCtehPUsPr9ENo
lnhposDPa7rVo4uyxRnHT7kgA8D0prdqeVgQKhq8mm9HaY/0EGABZ8G9zv3nqrmtlnu7tXhWEtt7
gKgMajzi/wtIjmkWZwvQjeca0ek+DEw6xCX6K6hUO+51NWMVg3Fh1vsEBLfLu60DPvcoXAILivwe
1UK9yQM6fWUHhh9SQyBDYpq6+6qd04OT8kNPy+mrR6Z0GDOP1i75amsrvbzzdW3IvvYxOcYuzvUN
QCZi6Znn04v8bQQ/nyHqRL1ZgZmd6PhWdGcozxJKbRQkboI1RiB9k+TuE+0VGti2fpJlYu0ZlM6+
rZPHoAuBkzN3b+UoRrij/SfDJUQmdAiPwS240ZCaMcYzAFxK8w+59E5sbKDcns2CSTXC9sgcDTw/
xc7kB25fnBp07ZYhzEMnhjfbps1YIvNIJkupx0uIk01mkWla1dYu87wEBi0JLJkMaLoyMD2R1iPi
FcbP2rLhXFDHHGfzsLbbFLC6k6a+mrr2gtXrHrZMuPPM4ByGzrEW1pNCh3NwlUvaVZvOVMuYRXD7
6b5T2ZI2sB91h8nJyjngkn6b+iTk8m7u0nY8m1SEzpYe7SazsZ7MhtC6BDwFnd3xwjfZIgQYXsJ+
uKdn+8hozdt6Nrj/XDraBmbaT1twg2CsvMX9RmTKnH3y+CXVHXb+oJ9uB6s6tp9SJF6nWU3uphhM
vjkAuTtL/wFKg95TCe6UO11wiHuKeQNhEw1DwJvUU809FdEGpRz3ZO8YoN27kVk1ovIeD1mGfRNV
XLY13SXg5qVOYF8VUfTIfSKgrEgZg+T4DFOAqAR3RgEyr1swOQpib9K6UHrCMn8oc2IyNEc7NGYd
HOxUZcdQAMagYmdtDMAJXW7rJ/2/2DuT5biRNFu/yrW7RxvgcMewuJuYg8FgBIOTyA1MFCXM8+AA
nr4/KMuqsrPLqrr3d8OSskRKDCJ8OP853/HaHYXFyAW59x5nXno0LQ4x7nQZGImcmhigSoHjpo/1
pQsxAXAwyZr+e5AUnyY/Yti8E4Riq4du0zB/1kP9UTjiw4DXZHfqZFZwxM3ks7CwsJRTh1sAI/dx
VKS/uLC364Kb9brIorUx3EqCaNx4LHbJVeKbw06S3tqyPxYbPx0NNgMyZ5ycX30tp4PVf5mWcWgt
ERztCi9MDTrcJyudJLx4nZs2ewuOzyqsk2eXge2hnfpDOgQWPkSKHALIuDI8Ku6S68aB6OWXv5oy
oOmU2oMKkKxoo/SD7iHa5/AfNtkBdp6kyUX99KvW2SYt4LaOKHuQB6c4SignnUdvPcTV0Ya2teUb
CHemg0AmFdkQrxAbBqA0R5AxXMnRHMmVOa88BBTbIAhFbSW4H2EMoPgWcAEkXj+/xDoLD6K7mQPW
HYMGrSkFUBgvMXBUZ5MaDg6syzjlh0MSfmPyG03zwByH0z6jIg+ER4/UaALAMyiF5Lk/+srRTIgo
yAsmHaI0PTUY749YsKY1Tob2AZTANXTbXUX3WO5bX8j36ur1bs5V6tzNVrcZwgquQoxc17eI7ll2
sbhgq9xxNi119yxQycErYfZylf6W98cqM7+ChiBFaI/JPvapxmD4BTxOFfsAYYjVilMKMQGaAT2y
f4HvDlt3nk7jSCxBuiCEG3DRIwCmgy2xjQlZbsomKIBCOfO6U253ELb7czjP2zFG/2tyIEqTlNa6
dBKG5fNm3JoM0HZBIj9E82y7dgOhAY9CPCZymV/h/MH9sTVbBwoUIlcJgp4GgUfMFd7OTbOGgTIW
htw7pNJgO0opWpPcoNQMl64cucb3DB27STNvhAOTFvI0msttDYcOyITEzcKTY5bf3NHZ5BhxV6yC
bg1ZiTN1xK1DAKGzWTSM39D3NP/0dUMJw/IPUxW053qa7kURyEPc1jVwIfHloQfX5smg9nQbRulz
VtXWaSrJp9QG97sB+HptcEhmm3OxzGAHg4sOhQXUdE8PUn3jlscmbWa0JoKrtyg0zuJ+OsoMH1BD
O6aiuTvKdbGO4cEQwUg2djx8wm9+mrtmWCPzb6oqOQYXgsY5oiljI3THdeb3RxOglydHHLWt2DqT
mR66vvBxyohdEmimhwpUh7TbHfZbZp2WvoFF9sELJfsqVXcMRrN1HVT7RBrWPrCKoxphFOKzTDeh
S8dT2Fo/GP3CKqgAZ7QJqLtZjFczSaA+3LjhNHcqntd4TOIdLOiPOgb5VwZ1h+hFM0R5Dv22YX4j
PzMNXcPTdD72Me/zvBzeMf/Q19NRPppk/olBsLHPmnzr8Sm7zBtvUP56Tno0ZLfLV9GOKcFjw1uR
uJw6QNBIQcfENqpHJy+uSdb5d8xvnI0Mpl+lGY0Hu3DOIAEBs/WMI7irQlSN2HjTUu5EGF1STTlZ
0Ekqy8RTng33YeFZK1sONUkkua7qStPAWTJoZm6xCWkabxBS6GTIt6ERvjfiseiK+aXKgR/EW6k5
WmshqABJSkrNXfYilZtova42VyP1aPjG7A0z8XGbQ5MZCudbkU3AQdseo8uINTrhcq8EWIN2KW3N
l6ehdZnCk6RR0JUa3c1b00yee8d68xgfQSVCX8Em6lllxHvuJcOHuMOiwTWd5wMTmd0+2pEXnRhT
nTXGQ+KvTrzz6aTznOAt8ils7zt3l4RjfHIkbvpc0YKBit9BJ9rmfWivIWwQwmk2s8XEKJ+WhlIZ
pVt8Wde6yi6BO1Lca/HYeLIJMPfVxq7O47u80dFDU03vycPYyx92xtt1qoqXqquZ8g7+RwxlbRf5
9SqPMggrs7XIkPkpm7laFEPHewI32AAWggRraNMhUJ86RvGxYF+mQ6XmPB+/AtRNOHgImoRCdE5T
kZIrlnfiyBmatY9Qx+/8dg38pjtVzovnut0CaKnu3OV0/fvDH7+F6Eb/uaSCPCbrY0w1ABiyajrP
Q8JDi7Dw+4P191/9T/9bjoqx6rh4zn5GR7aHcAviiNxiYrprc+SeSciL7rGGRiquhGkZTLiNqLpr
AK0mSafvfv8q+vuvfv/2n/2333/kH5/xz/6IlCOXhVj1m1ZaKStNTWy7baJLRC3NNrQApZplhzNv
Cij8BvqbRnOyLaLmRWr5FfZhc4mTWG8DJ3VXsvZOhRehjjhUBUvsyEBY5ZeED7zqwJxwVsJDVN0B
O0cQnBi79h1qoR6Se568PUus2I0TZ5Lej8aLBkffRTSCFmqijFV0TCqROeC9sDf18Snk/58ifMf4
WNb9fEBsCz4+LKhgZ5n9Ys0cCY+zzPXtpABadXslaQEU1vcwsfvNFLThptCoSFbCKrk0snEnRHy3
7spAvHssHcfA2RSj/VGJ4DrROLt3ucIvQ2yj15+iosAziDv4zAxBHRddaNITL8+l8RMbzRBc5TDg
KBKOR6KMEyWY/dc+/2WSy3/S1ntnTT8RV6MNebKXsAaeklKfbLdddVemKY1k9Eis5kZIuib2adVL
kKbc7PVYfs1TcubswjZotq/4odGlZ5aCycseOC5QW4LxMloKTGKrv+XB2huMGy4ie8M39aIbBwRk
TH+WZdLVIuIfLQLFKplieC/+kB9E4z0XRkSzmwZ1ZIEKWHNfvthz/u71+mnMOTiYKubEk/tL9wGw
MxmGJw/m6D6eZ3Vn2yDphyU4KUvvmYRIz5mXG92YU2mJXASfaZy83dg0D1nfG3e17/aU8jmawfAX
fVUB43a+YLlEPcsxQch6DFFgaxf2QDleBLPqFYsmpJ+MjWYT59TSTqUPAXHMH+epf4p8j76QTAzQ
e915ZViQ5Z0c6os35fW2VYU8Joxb0hg5VfvZ/jeuHrn5AKRq2vtLJZ/viyNd29lp8sttl+Ya0BJ3
vIGqB+YHXQCMDq+EX/JaWGEuTtKd37goruaO/E/o6+hQBc1dVaV4vkfqNJfv32ouNiSrjTnCNQ2I
4s6Tw807f3PT9KpG+5pofG/RqwxwAXkmEZ+A8SI+fHUDIYcZAPnp9xfy1b3tLLR8jeQcURDToRkM
UeMc8G1Q/TejxcIEA6I8eQGBGbHPR18f6mgYDsOk9rYyJ4ZWgql6eUpjxXL2kBTJHbxx/t4BTZ9Q
beg6a0MFd25t8OBwHsbjyu0/9Xcc8t4hpl96CdEn9/SwniqOb1kKni8+e8p660ZVrG0/+N5W1r2d
OHDQ3Pe5yL6NlLQe4rE8uDp4t4MoYIqd9E+DTfkWaKi7Psq51TAyk7bE8pzRTdUH36y6N3eunSDu
xxP1QPTiVCl61EAubBskcE88MzKfSlX/NHN330RpciOI5a1M8DyJzvY6lfGtiJhs9XP26nqufzYy
zutcH7YuEylG015yoRHpYBq0RhqljM5J5/hHWojMvZ+jumh5X46+cejjhokjHGQatuiVb6OLRQXj
UX13BPWXtKIUS2dL7d5GpJyQiWOFqWPXTtFjttyitAvsS8z4FjwmD8wdkw0DtWcvQ+fI+sSFC8nU
oaz8z4T0AW6uHgKIl013Ynn8OoVU77e87JAG2zXj5VMkSBqHhJ3WJifSdcA5Yx8U7UMUOsytquQt
qQBw+zopNqQpalDIHbtYPoUzq59g/bOcpRsIHzD9aRopfJsRXlkTT/O50qiQ5Z9dNhr0++DDhLH7
Uf/xwa9o09EC3aCKm3NhDcPeYhLh2ZiCsvpYZHNyF3TCZIxQPQ6WOnbLQOP3h77CoKKWmonBC17H
dHRW5A5gk6i439rD+JWbpUvVJFZn2rdOHJlKCJsdXFFa1UPghxwUSU5QBo1gfecsyW+5fJhLIHiK
Xg3WfBgAlohf54o/S68cu5oj+pOAETvnzZeI0wJxlc/BAcDFalnTHFP8AujTrXUsXyWsyZhHg2YP
m5nn0Jw9/E3vVcUEr8JoVgTjW7NMsEs6cjamTr+wS0XHwavMy9Difnd7iRgYA8OTm3wO4ism4249
GhKYhpvKnW6dll1zZA5ggi2Fsd1vkOOi02z8mtDruUnIk9PGzoUucQ6gs9X89ADNrzMFjV9qi13F
/qZ7BsWmiRlLaS++pLK+Rz/PwIxltD7L/pzzr2/8orwFrvoEuf0Ebmt+N8ry5Lt6/Jnb8dm/ajVH
703OTJvgW8wEp8Kd7CWkxsPyVVBak8xK74YEBX8iMjDDnFn7ooq/id5/t7Vqvqb2zQXLlRXmNeyk
w21Jq40s7F+BixmVThZjlTResiU6z92wwLBlk0XZWFEYoXkHP9OZjpGQ8qgl+LcKy7k4Ty4W0caa
/Sd3sYD7ZeN9WPrYVe21M9XNqWPoZU2YwmWkkjqvX9CoGFxlS1oAJjzOuO8qucoxjp6LxkJGjwEo
MNTnncHK5tbJd0GL30kFuCm7zu53nLKrowoxlaRl+VTikasCs8Vf3JpcZ+ubxjYqfXv44XWeZivx
m+cqooOPk+1KFTdn6rv7wJq39WRBOIqtAK8Axq6prkISMBahKH6OTuRWxxDK5CCmn76d3Rdhsi9T
LX8JoPxeg+Wby7uzizUvlN/b6tJ7lnVkKezhIDfJE5kv7rlkmn6q8GDNILlnTrgbN5z7UxgpEjO9
dW0UVu2xYazoOg4t5+V+KnV9HiKgcz1Msn0q6AwckdvOnmM+dtilsS+3xZlaGaarCWLq0JgAx7Pe
em8FiJ44Fe6du4wpfn/IuRPepW866qpzkSbVOW9iZ+tVqKt//BYhfw/KDYosZ5UJ9sDV66Jv0UTG
K/eY8PSVuCVeoDa2P+CnquNqmxn1EhOhMi+NunVgKJf1bky3aqRBMQ2c7ti57TfXnVParpfXvEK5
kakl7+vUeFG98LfoAMW2i35ZrrNskdMr46CBOyrI8UHillaMgymtMPjx4HJsqxSTazbDvVLBw4Af
wM70XRxN6dV70k6KhUjRXuqVPQYJf8xoUre2rcaOSXiDI7GQaEkVoZmSxfhg5IW39QJ69P6Uc7z+
kQz8P4T3riX4pvb//V+1YLz+EhhU5BkFsUHhEh4ktvjnwGAfBVlcdXFycERLiGduxXnozLtYdP4j
L9eOUo34LpU2cCh0m60jgTx69DOt5oJQCkcpzOzZFGc4WpLXoSVEXeaZuIvT2DhgX8lzetvhGOrK
/lsUys6oSSobN9uEVXuA6pvcTRzhcQxkznOX+ZR++NSA2ik+fFqdTIQEE4J+h7dFVMF7Vtj63Pp1
chS9famCOTz/44OXF+0hC/vn0KqZa0nOSQMOOBr8nJn5WlttK9O69S5FnP/6ZZTUyvz1ZfRsi3mX
dD3ItmIphPlT7lJHBCJmQVtxp90v2sWs975J6D6zExqLaStA4Rjib/O3amrx/LiZvUHGt2+4HRV2
kKw89jKzb8xf24sr5x2eBQIsVFyRCjOjJ964hHF62LhTaxxTv1nhLwmvY5o4FJFk7bZ0nB+Z1cBk
tuLoURBDxHIRfWRNhqdonPNXKx6LjSxBiLJEu2vsn8GDa/VHD44/lav41AQ5PdnWR6CSeAHQYl49
yfz8X79ONrHbv75Ovu1xBBQOMVnXXfKrf3qdCrsPyghfwAGq8WYs8gHyVruvdMm3m4iJo6RK1jiO
utNgYmWNhh19KOZe2318RB5+CArfvI+YULhT1hx+B9gS1dUHFcLMzpk3rr9UlYcXb1uP8/SSj/HD
aOYj/eB4GY0gfzeSZHgytDzh4fnX3xt/7z/95hy+QQe7sCX/gswrYFn3xTBje3ey7Ii9FPl0p0s7
/ogqeiVkWNa8lfhBML2SO7tux1VlxManB7M2GEoOwU1WHWSism0BTu3E/HQAZt+bL42v9MZtcqRu
HisAKlTYIF21l9B2sz/9KlXRgyvs7mHq6dw2RNr9oA2VJNZUvDkdNbHeHvPPeEcq13qYy7bYhKHp
vgdVfswl07hiNF/NLnmPxRC/cLrp9xkJmIOEJnfLMIKv8CJhxNSTg0XdeEP1cZ6ISoAtTWI607lz
0IlDrV7N3OQwZc7RsTeQCq2TiK6NJ6hyDi3viU0PZhATAl1n0X3lA9vlMsuCEJClbBKKjNq6eBta
Z/g5MOwC0vBR9tOExx0rqFC3bsDHkLqKykrVySfQCMjTULXvPC7U1EUQJM1r7HxuPzjf6rG8WM2s
frK0HlA/g5PjjARq4wCsdu+Fz0kgMxhZynkgZkfiwsgPhC5j9gk0yGjHvt1AWyWionftXLXvxN4w
jrdH3rvkd7Xf3YuElIsc2I50U30rXAf8EiYFvFjyLolobuzshna7DivmkAgA6GVnbzOOGVFQWu//
+im0//tKpFzXUq7tC9N0rb++wxjwxIZNJvfgI5geTKzLNtLm2R3eskFcYxcqkwwbZ4uYKE6ZBdYk
itPwgIWeG79HPUmzzBxjU3zmCp1XMrvbuyZzcpMCvSGfps3sE++gT7TY9IurfqY12+3afOlU2aq2
8bZ26aPfB9E7xjZMG6ija5nPZ7PjT2aeVgfIU//mzbfE6/+ysOCmIPXm2MAxLdP6y8JiqNqYe+FG
NDiXF1BW4kJ1B3VSmRE/hKo/5YWgyyksnkvhY5MfzP6ZG83F0HCqp6btry1Vgj2Ub6Y/KjzT6uss
YqWNTYbMcjXg/g7zAefgYoScx+8W6b+VbZAADJPkhTdRtfGZiaVN++DY0Z0o1QE5Ot1lY8B82q0V
hc+52tWUUTL/2syMs/7NS2A5//1HD5FAKt8h74H6SIvZf1lc3cGsSARDwB9ENcDiDr1z39jMy8Q3
x+26xzl0ors6jH+4Eu+GjKs36pc2jRuOO8rREORyv3rP0ks3WE8ZuLKzmwv7OXdhptfQJT02kZOq
m+HNj98DbArXQQ+f9WiaB1FP5NwMab7aibvBkcI7rU3Iq0zlpbPp+gCJpaIyey0YvF0AarwZYRdT
EJkmsNKa/sl3AdgW1XOPIrSp83HpgimvWWXqC+2a4/0YTh+e2Q7YTPNdW024w5Xz2k6JunRCygvr
5bdM0tToCIvHtIu7G/4h+x7WwIOoqX7qwpx4iDbOPami9RxKRVXKXF1aRjWbbhLn394S1uxjm3Hl
H8wR8uVUz7dKWTevr8pTXzc32+5oaMIQdcu5DFb+jOMYv+SeWevJKCsyJ10R771ekaYAoN7P/qkz
a0YF2gRxMnmPyurTveFQ0BJ1IdA6A0MqMcWwkjjQ3cq7F6o1MC1hfxmxlu3QP75cOC9b0tSg/GE3
r3WfBdcsty4oDtkeQnizrTycxG0Bqynm+g7BL6/hZLuY7ywjpbY8pcsw7g9YTrHvxdzLgxmxW1kh
7SmRTk54uml3NRDNVeQFW6u2BMDllKXglcMV578MRc+ICD63n8qqUL7mCSvXPLybrt3u5wgTCslI
zn49AceqgKQwJNwbmjn6VWfiim/zbGHZumha8TaShKmHMWdVc+26NllPn7Wr7O04IbjEk5UyWqd1
LXdxW0wx8HOnKx+zaKRnwuEzo8DhrD57rzjFVrbLvQ+HqXOf9xMDniowXv71gmqJv5BwOdQ5rnCl
Y3nSko4PWPe/vK0i6jIoe3OpjTURrJcQ4YWahmCNoxtM/yy/Bi7Rt6JKgs1ktdm2ciWYnMj6GApq
lukrIClHu8u59P3x2hoiOoLxGdd55D8r34sPDciC3eBq62DbzhvU/jXtAvlZlaq90IiCda8e2pUd
Zd2DHxhrX3klF7zrGKXRdRn3PXIgJVthCSqxC1y/AcN5zxTJ3hsoDMy7gc8LkVNoUMvYhez07JSY
Hwal+40mKn1WMmdsXlqUTvjld8bmKNVeee6jqMLdz/MYK8t9EFlXr20nbqn6o8d8sohu51P3lmvh
XnVK0RppsyWnt8ujO5q92h/u1B5jH/etZVyF+ES+GA5GybSc4sKZQ8SDywmXnUTrA/AQ/CdOstEs
yFt6rFqckg79sHkwH2wnvHZFguWGKxijuekI90JtfufglXuyHWS9LKjmQ45iQ2eG9l+J0Z7TqYZO
IR+LGc8VB2/7LlI+ccDOrQ/E50EChWDkJTHs1UxtyyWlsnrGmHSPD3NtGRWHDYJeDUh7bB6le3KK
0NxhY19MbYsTAnM1fhf1nJC8Qfny8s0Q4MVMUpoMfC+tH2L8IDPYCuBBhPFwSSZhkv/wU4wBfkI5
UBOIk3DJKv5+Yv9/s+i/bRZ1lnvXv8P8bL6nZfdXyM/yiX+D/PjgehxwPK6ghEEp3vF/h/xYpvwP
UzqebwrlufzPP8jcEma3aYIZkSh5pjJdVom/QX6k+g+MVsB4+DQuh9wM/jdkbsu1qUv901lH0rgh
bZcAEv9CEFe/YeR/vkRJ38OqMrri3l6JzIRAuHzAhG9z6rJp/TVdulUWq6SxoPSG34bPf/z+93/s
TBoOBnyim98U7anBQrtWzd2QS+uIdxHYVdYsa5ye7JWS/ThvsX3DOHUXanZDe9xujAwMWyihvz9o
7QF+ie3BPyJL/Z5Whg3H+D8Q2L9/r0Rwssca7jUF68eaKz9uylsxME+do/yVfjzIXPbNDDPzUAx0
rlszdrUYqwH6bkB3Nl7JTZEwGSet/9KG83Nu6p7WyPxo0LngAxxipppWuwQmEJoV1tdQeo8a6ocM
IjyFM1iTlJ28phQLNFDZcy6Rh86y8k0Itn9dkkViEFz/sFmkGK2518rmAuGlt7YOHyeze8sUjVxC
cYKws2QLK4HiiZyYmRHHYuWo4L4uWgJksf+LKqwc4BdeSvTXLmbUX1TdGSLIxsv1WXZ0qxmzeqvz
6YJr6tHikqhoF91kOn8sAK4VIgBmZN4cPAFUXH8MvmK3o+RoM4Z0u4xgWpYv2EXtG+cRjJG4kcYC
X0meUzqplyDS0gmXxxXZEkWMjUYoudLFrcRjQI8EtSsUvsnEvo+64qNa/AZMsfN16mQBe8l8iuLm
vfK8Z9LxT1bdXL3WfSGs9kohRk1mKKFSzYHzFPC6s5a59aMw4J9hnUjlQC1jddLsEpsorL/qDttN
aRdfZD9HCMWMkIItoVGkBv1DayzDNp0f+WIOT2m3LLY4VmlIUIQUYkCc1c4245EAarBKXefYmAhj
rRUxAC1UsC1l/UsIblyTSeF11DO3DB99V1yyzvqpKKcXWfWcD9iUumLCTx6pX4zY1/gVT0kXMrJx
F3FeV+wBfNOEkTY+l6LV5PY8eE30EeuacZVbTrtGdPbOLcm/ZHTRaf+zUrSyNbq5FMU3bdq4/ZhV
rKkFYVCnyifrDVWzxg+X+4wSnJ05BPf26O+W56kyywMttkweJ9pZzTZaizm7xtmx0MYFuZqZAU5p
17mIAfyHPSuuLDHuLHRjhmTT12yND5nDzDHsEjRc2k66lDhFzzhgsPLHZpzI25rpa2MFb3bhP3Q9
/sfenHCvGorRKiwCoxJfsjOvRn/ndhbDr9QiDOwlB0VVJyiZiN43F6NABUJMO1992ZJ+zsXKGALc
Ek325JkIVYoDsz+PF9tDzy11WW+EHZMh1Ou6duDptPJauL9ri4IHldWHnPhR7RcaUsmhsVvmShMX
FBGfG6971imFYplPxWjBk+yIjg4MhyNoF6I50COFL4TOY73uquTQPOnB44fsYgwg+aInjjHs4ps+
dfDoq/CxG22IuOYpQpjlRTULpHcvJaKbVdMv/oL3PJZXI4LXnTbxJ9m5oznkzESbp8BJPvl1jM7h
0D9F8IxmpD49VvGQ7uwguY/rkKv7ZoD1N1AozHCYQmcV8oMSaPe2JBkm6A1aKwVxZYI9QoD40lqw
BML6V9JRJuk/EFN/7hrzRqES7kGL9/SQ2Nc+OlPKiY0kax8dO35dyPdGixun7vqjNrSzMkt9FcV0
c5Fm2CV4vJKPwQYDQtDgV+t1nOihGa1CY6RwxnzyEx5mobBDcfn5aaqHwJ9IT3uXNot/BtZokXvV
N/QJqtuL7tkq7X5FAy9xXBgq2whHpDezpUR98DREw4/WLm9mNXyMFf9Iey4epMAK3JE54zvfeK68
Rn5x1AlCudvn342xebE0xWJCvpQwjFs5e4ASV7VFrm/IzFvAJoDx9xfojGetKcmMk19jWJxowNoZ
ourI8LCbdAx91himAYptwL12Kwv7QwJqQJQPnM0JQ6glNlu8mHx54bnJ1gzw16Q2gcPc2TZBv6/n
tf/DSVgreg7NnvoxT3Lckovii8RMqRiCbhWtP3gdCo/yV/kAd+gUZsWSAn2jV/unGyyICSpHo1n2
QF/c+0AMO3/UJ3cCTzPk8zUOQGSZzZa+xZp/E/27OVZtkX2PNBTI8GYux8O8u7ft45jmV5kHRE5d
DHl9pbZN7xPyx8TbWbiFi8dsyH7iJcGKgUPNH8bvnj2aG28sr0NtrePl3TXO9Q6U1RKvi37OCpVc
K3zMKC8YbenOgoFmGx9Oiwadtj4KPZaXUFNhmRb9mvPKg1cEP4YCFDjoLRqq5s9OhK/jGN9CDyFv
SHASgZ06xMiZq9Y1vxUBhcLgRcgSetNxrG1AVjD0qDu/H430OkUcJ+h/4vpKTt8INpGj96aabxaX
MzK4VBLS3dE4I183lWdYw5TtdkTLEudQaQtxxH1jyBCtl6edEaC1bz18JWEykZwV7yE1sQuP4TO3
m0eiDmQrE8bn34rIPLjT+NNfuk1xyOP+eyHx8wSWO8Rz3b8nWGv2s6fv2tkmLwhEoCT8W4e0erE0
HOmTtFoPI9xYPtqluMk5OkHkilYWJVCCqkS/ca5EWDHr84e84tknC8J457vUgjbeOHmtZh5EE6M0
ToVTCwR046qK9Y6UGfcdOgWLkm7Cmft1oXhuBvSzJugGfEVztPKy+pvSVAZCw4nXDCjI7UO4uudI
sdalye7GE2LLZh8W2cGp5B3WxLvB4R+Mw/PFH/NTg22dn/h7bA3xMZmdrygF2uSiqCba+PQZWawr
dVFJ5B91ap+7DBNVW2cfnVbmvqy4KLb2fki1tzZNCCeayNheApA/xUpQf0oooIqLZweVYYPR5bst
k2cqViEPNfVPe0Lk8uoXOzV9yg41TJcsu2eiJFYBgfvRtF/KgbdrVHmvLtXDlfcSDxhWbTd4o5Uv
2qqoeRdedqF+rNqEZXJz8uBnUdBbQGCDLSgB5TIhXpNaiGWwjs2Y9UZ3KzsfP+2KziMRmg+V/TmX
1krSWGr5OBLc9/yBmRxnAZwDqOqsiLlsn6nb4d6Wm2/0Ci+Mbp6EAD/30PIpZum9gSlzOPy4KxMc
C6KmvsPB1gF8oroNFuOaefeT5VU/kL5s3/zQyvtqIyIlbavv09YTK18yj4xyasLLFzJN2MMi89oS
kFoluKY8G7euoO5pZWpJHGMUpM/CC1NZpj/H3ow5H6Xhe2an+DPC73U6P0R2cmM080Di5gwmkVqq
3DzZLaSINkdeYWzSgi5j8Du+TgWZtHyun2bP/igM51QqvC40xz71mXNfWnyP7RjQYUq7YqKvugzf
VDkCAkojVD2bdZeRAcvfxijkMyqFuTIcNH1qgzdFPH5TyRyweFXXgIM13wpJ0wkiApBCNqEovJQK
XWnM9744qAzDggX/CSE5zOG/mN70IyE9a4ZEURpkiB1+B+ri1IkTuSFzD4WhBNMw7WodPKNhddQm
mhVVxPHZ9JdhY0SFmTs8ljZWlKRlgZui7LZMcVd+F/IXLJwYUgDfmW49Ox6GVyqhbcJKkElgX76l
1mKRq38UrbwlBi5E2h++j54GDDx8MVr/KWZncd9+xj6pucrktYoCbD6MEJlSIwL4w36QHf1tQQ9t
I99PSt9zfz85QgWU8zQfmH49zh3NLi73aOpVm4DFi91vIslPQV3/ijq22MnKPrTwQBN7B1xMIf7m
9NHqK3+NH5M+NyNemYU+W2Z68a2BMHrkfHYZoYHC7bdzumx445p9vOyXuKhulmxlfvQcPFiTWbP9
90+Y4j7tBDIdAeY9Cy4ANlyJBCZSU3L+x+JLamH8wYJzsyO18oNHjR8jJUZQdDgoSsy2YMnSjZvW
j9h6CA0i0h0iMtQqeRll8TyFIdv/moJqYiM5/AC6I8mALn4bIwE4ITgp90qtajWijeK8KAHHzJF7
0QEkQhJQG1oD8OCNXIJamjE9SvJEf1+X+kng4iUxUh76WWw80/8hw+nW2pk6NH19nbT1alYew6rk
3sBvw1uXN5iHME/AcZVB+ppnna+1IY5DzHuK3k2cI9Zjanj7ZgTbnc7xfVSwQtX+q7AArZQt4qEd
k6gxXXlpbGY+nfWautHW8RQIjoFSVZ0fEjc/jcFzoiX0oGw51UrwME7CBhijmBrxucfTugPt0q/t
Eif4xBrl+ww7gvdAW92xz0N8fBEWwmfDhE9VIMav2sU95+T3tsbDEuTuiy2jVw/+R6ndh4rXNawo
gyuznz3zT6se7gvxJsXwM46Cr3DW3+AXfPaR8xpKztu+d8f9+wpM7FedVo/Bf7J3HktyI1u2/Zc3
Rxng0G32JqFFas2cwMgkCa01vr6Xe9at5M1bonveVlZBRESGgnQ/Z++1PQ8ZZFztJwqia2Q+RGzi
ITDsN0gJR8OYLpr4mgY0EeBBufdIBFlBWDPM/lALBgtTnkG5G+dyGzv0j8KyeiCK9dQlFOTSgkmt
r+NYo4v9NYcaxcE5acz4oi9Rcw1vz4bGz2Xe16CQxemdWMx268/Rj4QM3D58sLnuCWf71o+A3RGJ
uAcMECtlvlY3YKwoM6hFwjJwCzpGvFV38xwvZ8W+TkN7pplTQWGQIVvKTjzISoQfXkdxjYyngLfm
V9V39bpsCimuN3W4oWD7r/cu5ccTVE/LyiHHRP2hemyC9rBPtAlhEtbVk3rCk0WPYTCQZ6EgxnUi
mq+BfEzdjBxpkCpbMLxOUq7yenQQUtSQk2Y6nVtNxomFfiyp6Xr4OoxIL30VbaIs0F3a3g8zQUdO
6l1T/ASo8l6MGeMUH1O66nB7n2i+ErgZoQj+iJYp5O+ybZTGug2HvZNrQC1VCs6uFv18yum8CLhU
7LS+SkBDqQzKXC3Km1ILi02q7Wvq3Fy8R5KU1M/KWs1atr8sqle7ZKsvHLXoyt8X6SRsncKJD+rz
pralYdvKYd0z1puTWnPvaynWqlVpS/W9NNqrtZJ2XPPbzqDqIh9T61+9Qi2px953B3Vf3ZgZsmAw
B4caR2M39ndqw79H9ahV87E3qGeaCS0OTacFOSqrQn1JoRD2XViC5Owod8x2/a2bWjDyGT1fiYG3
Cncgwdoyd7kf2Ox1lECK7hia0a5YSvC1UGM4wfKH8iZPHJfAS4LCw5r2Krr64oDtliAGSjvlf3zw
L99BLaIGKVaGiKRilq/4vvXiCOFoMZhiM8mdI5K+4b4B9uAAvZrusgxZjlpVE+W+FEzCH0eNJ9xg
XquV93kNmnV0hW/J02BvETWPnCwBgK/1uU6qGseDuuEQOQlXgvblXqW+Uon9AiHagH6e7zLgFs6c
Rd9Vug3rq8050Eeh7d7/VL6PeqV6s798zO+rhZ4DqeNqT6CjTy0Bmb76yuCs3AOwCVqO/zrI5B9A
TeMPLIbFVTjTSWDnnXp7hG8kbfL1tnApSwWePNL+8nOdMjuC7K7IKTCx0stjU32k+rZLcokFFryF
WTpYyeSeoA5NtSepux+Pla61lWckWyzuNnBJ4Yzc7MYNNc4w6u/VzcfR+ssu+r6onl8og0J2lfpa
Vvb7S7rI3mtPXVvs3rdqUYftntzo48cRrn6eeol6TN0N5V6oD4C7CWfaR268U89ZamdXf/Hx+s+7
oLqvtppaen+Nuv+++Ol5dffTY++7bVU7DkeA/DFlzijKziyowoCqMkH2bTavdbK639eP8O1+FQrY
uDMGshYmsd0yG5JbfIQhRE/wuli6WzcB6VbSGM0YBmK+68b0tvDMw9j0Z1um7FBrvMXKU7YQKKCD
ETlbYo08mBrktlrrD9oMfEHdlCjqye5qgJKq+y7Z2Ziy9RBtTemSfigwN3vFQKg57CoCZ+Tf//li
4QXVbvTEPXTvBSnIw2wl0XmUN+TmcBVQ9wPhIOtUi72Awhg3Uso0wZnArxme1RNhyIXC8UDt5pyh
c3n4qBtf7pofdz8em8yJVayefl9UT3lqt//4+795/uOd48ktD1YjkunCnppl9/HyX97ufdGVX+eX
R98/+pcHPr7gx7v82WMfn66enRz7lcR1+Btmi2H973+0kDvHp7dfZORdFXeP72/3sXI+/d0vX/Xj
bSALT8jMmUupv1Yfn7BzGZn+JSrwHgMNpW71y+IkER8in/1DDxZb/6P9YkwN1m15ox5TS6ovo+62
U7rrIa/sdRXohLW9PNXSRapuZvVgCCuYGVoYgiqUlxHl3eLLcPL/uJ/mlbOmUMUgVJ33VWiIuqGT
zHlPZYr4DZKl0jRuVWfGzkeu9yrTROcCh0SHSY0KOxng1jEWcyEBy7GDN9bJaXrv6dRqCAGgPTxY
qbdlvkxHqCDxXt9+ZJrqPQCduHDIbZeBejgOWV8SUfFhdFN3ETO/5vQOtobEIAl50KolRhL7MVoa
KpVxuKK7HoOH6ZmZN4WO6R0Z5aaQHCBP0gyqP5Y+PdY0Oky5ZMypadDB6gy4x+pmRAB1en8s0ac9
iOu1vlgr9dxg+dY+qhlLyu2JIb0+qSWDFfO+pB5DKM0+YINemOcE8m/TMvq1bVz6EwhBxGhy+6v7
TiOegrIMtqq9prpttL5ZIWoLf3Tf5qpJ18yuqRjLcV0tb9SS2tKfHsNN2VIYrN8SdXl/78C9L6sN
PRTU1DrPX39k13x05Bx1KXq/r8aXC0MvAioPqhkXK7uiWpyV6XBQeThx/QOve4VPmy1qqYzZjy2q
HkyKktosY9VexZktUdPuHc7yWgKyz5LbNlBZtOo+gFRYtXn2aMtQvmzoyvFclUl3nJ0vgU4ojsoQ
/rj5s8eowBy0uDX2kWESjoSw4P2mKygDtK5JZsAfj811SNhQSHUZqoK1aWT43hJ/M0O/OlKDtLdj
O7zYhkwTU9spVJtILeJEewww6kJSlMnBH1tCbZiPrRM1BpNUFz6C2gQfN648OX3cfT8oO4dAvTn9
oTaDOgb/bFOpmKGxFNUhpNylNkrl+Duryp29Sg9+30TqyPOSwV4DdKQlIh03yIzWQK3mQxoUGZFK
kjglR+dHQnzhbUr4S5xWbwGdhO0o11NosNozTwY4q/vvi37oDqTaM39Wq1CX6/F9fcslddewgIaA
Nl29HxkJ6Ylt6j2rE6Q6dvx5QvenFt+PpdKJj05J/azyaE07uTetTbY+zBMcsZFmiLWOkIZZkUgP
U0Hooko2Vs8u8kwRFLiVnKV6UvtSbQF5KeXNx121pB6zNY3GAwMItadFcjVo8j3+T1rxP0pQwh6A
mvmvpRXMq/897Pz9Bb9LKjz9N8Aqvq4L3bVlyhGy8I/cJFIpkFr4ju1JbQTCzd9zkyzjN4oY9G6p
uDr8Y5t/SCpM7zd8YjqKLFM4hmt4/6uwc4s3+kVQYVuu7xuesG2XkCYDctYn9X4wauGAv8c+sgNu
XM+arwN/IorBxoGYh/Y3s8el5H3zBuOu8gnuyHzyWjA7vNS+V+xs+j1U5cJg21jDkbYCxQae981k
2aXecJOV+DmMcQpOJf6SQwEt2/ab28pwKKwPFFMJnBTrJaDrZuIgDYEqH5fkquzow84Z3WRb/5Km
MG/cwuOofyjKfTYv0SE3pHKiFSej7cX2l613824A+dUXIv5klQjkLDZrRZjUWD7paaGZNoEx+tZx
0VzA0wKIfJhpV5DI532paXunEHAT2wpt52KCCsSdsaSvGqLVDREBlOz5pV2F+KunIbgk4YVf6TTp
En8lyH7YYRrGWOg7L1gzquPff3eDzfdpg3rE5niI9WwHIY5jKbXwLzaDIKLr7/SQ4oMweMlrSsGV
CeBgckB7dT6GpcW4LsbngpkY9tKa/ioTuKPVeM9loo17o4HnNoVUXscRkoZbwrsY5wM5McDdE2OV
uPZGwHal1gNWErWGKaidlF4IopqaZGtnZzMD/5Oj0jDEchsbdUtDrPmRQ+xZkXhzrrMYoWA5nech
pKy3wHEHABVN3osYwke36qibQqLXF0K3gDUbaQIywbsJo9LGWdT3OwYXj8sFROcF3KU45loAjdlb
cNXCqbdAmJtgkPEgyyHPtyZa6lXkAMBGrVN71jrndesxuvY0o9m2yEJXhkO6ktN9F1EE3oA5rJcE
8zHMwnYboZzOLOe5Hif+rq2Bm+Egd7SnCl85/U3tretTBIRuZ2N46g+IKeU8z6fLF6CtwyF0UYOq
WI0RbVGUU0e4Bw8F3f11MxE21vEmWhniV+2tWwSBb/CGk5UYh72bwM2CIf81nR+mAQ5SOllfveho
0EhZwf24iW0PGFRl4WTvUYfk7TnNvV2YJV+WBXJ9kOGeaih7txbG5ThvL2trMXd6hFbDXsTeLYqv
SzoTIgE6g85vvemH5qWyG7blGFfrup8mcnEEPQRvQ/3+nJNQTQ+ESDP0I9kaspJ5ja2yXhvAIQPj
AhVRT7353gMlI7mhWzAHtGQM+g3DdMrd7lvQdGhssYzRYt5FhNFpDj3iHNfQJiDCZEdx6Zb+CgIU
YBb58NgMEPyzuniqZuu16dpvblaDr+9fXA+B8tAV39skvhUR/lYjjq+bFGVx3A/PKKS+LPZaA0+y
6vDKrBdt2YYg92wrOFcLtaVJt17cWAKtxGWtLw2iTLGP54Cg3gbIYGUg+6/IGNIBEGLq8GjgWuQo
RfUOVP0q7YbrGQFEJLqLqGz2HYJIbxqPbdq8ueIW392p9/PHFi/GNtSnr5phb+u+P2GI2kpBfelR
hy+XeTXRWgbtUmN5dJF/YQvTov5ok/6ITSJaW7r17KXugyx3WdpykVTMQCDK5FQRQ2RiCAN6JFRD
XN4lTvsVNOyXKBv2pFbsbI6kVRH1r513MJm6rEqXzhv65NYwSPcBZLbSwd9gBuPE6jwsJXMuN/uG
4fMnSKrXBlt0YZlfSaGuKBNyQndbyM6TfxMP9kvC9jQSqC5BfE5rklia+hErlRzP37i2/QYEqSJ+
4as1jzD1YV/Ar7/zkuoy8TWmISEVAkDKmdVsO4s0O0TJ9CoD+qJLPuwJfvlRcOStPFh4aIeyR2Jg
dugO4R07DJhsHbWXWMpmZZJ4HLdURVq3vHNBsxspWVtLlyWcNdBDV5l5TbYW3jENZ/JwO7veTTyl
t4kzX/mmdqhcf0Prn/RSqDVbAPGcrsGIj+3VHKfmygkRJNASP7ZBf0yaCK1S8E3Y+QXA+HtEdGDS
5+mxyhyxWQI078Go37x/btotm8ApdxSvKYUmX7PU3cjje25L2TeOzk0eH4Ms2JqJvjVmoC9W+GWo
y3m1DNOPLEeZRf+FlWRW2864CSrjVj6R+O5LOmK4nPxvogvuQhRz7diYqzhAfeN5r96E5t8jfu3o
tr60fg4vy3HWkU3VBvQXsG1ltkzb2EeAX2NvG2nbr3RIc6XAp+E6DZkWkV3veid6CEY4iEncH4Xg
lBl1dF9bI4TlP14zdTkWnfFs2lsrabJN6rpXjls+h34jkQcvtNiTFc0vjMFfdbfA0oCHYYlppqD7
2RY9pC9EihsXteCq6tHFYTV5aJuhYq4Zrcd5SY6j72Ek5vK2RhYAKM98MmPw3pkhx8li3OGFuc6q
5imIphvHhc8fFu6TAYkuSdvvUSyVZ7353SSvqOwwbxQsgCWTWOuhUU/Nfn1XWaidfY9roEfvODJf
xURTsspIMmzCTeQvRIpYOOUmEEpI3cGwp4sGEm34OZn9rRP76ynMvzkwJ05TkyDjxhDswxBDmjHJ
EsRQ7cRsX4cIeLbMYeDA9Q+TVo6rUJ85v3DtmQ1+c2q85fhKViaCGBfM8co17S/pRKUb2NPXSgue
m6i/NIPelxFyxW6CTWlaTkwL8DJ3mZIIYWuroZkRuc0g6PzZuqwEwpLZu0/saaN57kuOp3rVU4bY
vCZV/HXOAQQ7tvnVZiCSdNGu0UQHvI0eHsWkYps27hW2WWSBPbti1Tk3C1lBYONDZ42kG/hSeqAd
09xYsrumY9ulQoZxuzI70Ks6xl7MNJcOhIczXs3vi6c/1BM8J34DUA92eK1tG2Lg4KPqJQ0cP9uM
TvkjxsKzygiHW820zXBU7ZmvATdAppZLI41nPxBuFwLZPLqkNsJEc290a2RjW+P3JQZ8WYt5T0X1
kXl5sbc0mueGqNe96z6MDlfQ0DuJDnGtvrKwlzulbRJkw7flvBUs3dfMIbvGZpe43NlZcjkG/fPi
WdKyloNRELBTrXupvXe7tPsiV10XIIeX24MY4Jew7r8vGgdxHukvRM7QHAWCgw/0OTTye5QAETs6
LufSeHEbUe1cK16RW/R9KAaKtYy2oZEgO/SxpGbaDc2wVwj0y3rBoT8GxaNTzOipCJRb1XX55AGZ
wGZ4FTn1sZ+dO02M10kFUzVOHxh+nrR+ekBAYEv5MqemxT8a/qrlVasltB/Vr+PyuCapZJVnGIrk
x5oOsK7Uv/cS50ebTOzzk/tUufHtwC90rHYL6+PgBVcOTgfNb/jipIdEhCgGhIp0UDd2k+9nN/3w
bRkgZYVp3+6pjyAkN7dONRLPDZSxy2f32E2Ouaa7jOKIWiCnemMW27qoHsdu/kLzsD/RID1AdGDO
nM0COdlcgqME9dg1WInKpYZnSfSe5jDy8cFzVY6FvXMBDVbl3ZlsgRsyJsVWK2EY1gVRU5UwgcRE
8RZZ8sbuh+oitZDLEFm0SwQzGEzewAcS4zzm0wrn07gnju1RkHm8mrQ420SW90AuDuniS8tm7HHR
p/o9RNyiiIttYCd7MMgc/sZ4ZFzSH/zC/xGHTbAtiKdb45pAoTGO8cUs6O6nLR57jkO4+kDtkavq
d0UxcSEMY8LE6EamPrTwqrAkXbZv1xUil6w9TqgsCLhoSVhoTJJZaaZPgjaWXiGAzEb9WLvaObPs
jlwYDfVoaG3QM+eXbl7fR5GbIpnJAHJE0bkno2SPaLNfaXU+cEpzAEwEUXZAuUTVzpzjfFO2yOk6
PJ0nEtUo7KrA+D/uqieM2QGEC8VePTlqKfiEoqjpTP7xAvMma5aJkRGlwo+3UEtoloedO2g3dU/d
rBx1H3GEzrXd3Efh4sDvdxHlDjGVtUgWTjQShxgrs8OoGyG/kHojdbeaxE2BvXlXy2rupPo+ajHV
A+YXQbUOPe/LJHszRWQG68LGYOUCESYLxjjmjYah0UWthlXcOuL9p1RagcHl8nEvsb19MgcPll2x
WuTbqxaPXFIfga2X6rN6ENICtWTLmDbkBiEV19I6xxHdxujpdLZXPV7EbegecTxtyY1rVhVhGke/
0fVz4PfhCsfxcgW+nhmTaVd7cjoOXmwtZ3YZ8FeaEV0TDGvstBnpL6jjYisZiWto6slVFITZdhpF
Q5qa73NULvco4bX1BCrmzg2J722SHsS5nTOag8hKTMgMSUQqz/Dq2re2IB9P5KTbhFYt1iB14BPm
hrlFT7LKy1m7LAOvZtwOP7FNE8lHokA1lK+MR2C40+S/iKPmqcu1iVFiscX7tpuNvMb6ChtDyxk8
gChAQTr7O82o7F1q8PmtPYUX42B/ob7wtjRLeswhUnJ5CE5kB2cYto9xDlvR0irrDqLRyZ97kCw2
chan5fxQVFwqupwMMlAT2evCBclLTKy21dCca3metbzB3NZhc5tbVnMWRkOEy9jcW4YA1LcwmdLz
ud1BczTODqWOCEXEtTHBVROFfWSObx3bIUhuOx+OWMghw1Cj+DZ0F5ANfEpyXMBaABXnwmAkhnKN
yMU5Bsal+YwuXY0TRTRksDXCW1IFXQoAybQr4yF8GJfip1lz/h5xTdAy6Y7+GJjwIMYvdUrKpDu6
yyW7CBRf0eF8BG8Np2JgjOl6Z/Iu3PNAb99O7siSoXiSocMPEZO0lT9fW85wA+mMMOM+/GaX3Xys
SsiQkxud04D8sslp640kX1x1JNBeaeYI3TDEGd4L5zQv9fwAZpeIx2LgbJmJO5v8r4dQa4ujNvT5
uhRoeurWuZnwziAsr5YBBbekOieeuKjkzaBbiJaQJkfEYW/tpROPsevcpBWaorifLttZq258P7ga
EyM7eGbXnsNpfCRqgg4KXM1lcW+8TVH0yV0Dz/siJrYmCoEiMDW5m2cCaJLGhntbWS8x2RFsxHTY
jbbpHaMpJA7VCcW2IAgNUNVLwGhkw0XMPLZ24h+zodxaeVNdVbUN7y4PraOTQZK2zRuCTfSDhsKC
KVIGWrMlQ2N8MFoKD4vlYB1E6ycEftEwE+WekI5TjJp+F+XB9w46/J2BSjkpBnc/RxZidMNmhRnL
l6GZ0kPc7TUAqse+SM/moJOuw55LvOSOlNxHzDcn7BnmEXRQu3Oj4jlYjPTOBV1kBE17HmE013pO
UqLLDjEsuBwRVp1DqjJSBg8fjI7AeGVP1Es8Z7rFServCCckksBK7YO+MI837IrMtVZgnNIi7RxY
527w5m3fVCiL+/4HXM/oup8QmeXm0+AzkpmWBjzF3Nw27LkRmXcnI4Rk1C/ERkfgdAf8BblM4GUs
IahDxK9Q9gfExeFW69JTkxfhLebPq8CEdQGjpWACQrrWgjS70M6VN8tkqjzZWsvTAnp554M93cdJ
dqJaSumlcycKCkiw5u5sjWl/lg235taOc9TmC8K7ACLr3plbmQdiVvtoKrA8aPM14+lkh9nGOwbk
Mqe9f60j3OdanWnb0AWkkS7ipAjfei78fdz5zpXtoJWxmmIG+hQAvXKKR4AJL9jB9cvmuW60+IEw
mg2+yv4mQAQuJgaMZBRg2TLxvISZtS0sY0vHSzp1GNo1ZcMge0w3uQlKQDL4N+3kfSecet4vY1+f
J3Q5rg3vpCJonVrprgo9SmuO9Tj7eXcY8L1UNGDXU5b4hwqs5rrpiosmfaRnDdIgILOyG4PTjICy
q845mTKnJWvPgpzvW2qWKw+qsqTvjyhsUG378Oa4UUtxfFHVXJK1mnigVSMXp+ZCZaSB5ZbJ4Mlh
nCEWJrActoFOLUlryBVcZxrq+RlU2TrHI3rKovpnoRnzttU1Aa9Jav10Aq5gEEDiNPrSBIYjF+Nq
Mqko1Bko/KNXjHpwLTJAMIuHtMthXEJ9MdmNU7qcLJ8JfJcn+Taz3flERt0mclHaMcMgl0E+pG4I
uH2aekod6Khof+LsXk6DK4bfF9OyjjG1SLirrZ9meaOWBHYw5oHd+Pv9bs7ijU64FxhyKWlquhLH
N0sF83BG+BbSI2cKTeY7Bex3nujjUEYGQTsmY6w61Y5s6yYOqOqSIBn1WKCGLh9PO1z7t2GbvnKa
p4Od+u4vr1VvoG4+XvDpLiRa+q1YysS6CZmDfrykdhnPkjG8fH5DA0ci/Vf55d4XDQTzVN9Ievh4
9S9/pB70NAcgBOp4mJFy8PWXX0j9te8ZFVPgqHn/u6gOnFUnJnf98QGf3kA98emxj7vGxJEbd0ir
5GiREyERHtaUocuV5k7NISqLDFHwtPLp2qIPLUbZh06auzgkKAe5Scekjhs3gGRL8RTti7rvyQcn
EtaICsnKLSRHJm9Ong8bZ+i5is7afVZ4Dw7QxrWQewDH1ZtPyWdrl3Opb9nFyxNtDZ4IGyb4QTPh
SxTZvd8txNpP9V6GQ83nrIVeONFYoAQA2Tax9NepWI7NMH6P8hKQNtTWMLjsRXUqckxEDCy4QM62
4JSB/oG9CPMT43R7eLRSPFhNWt3HsfszKqtr3643oenflEb41SlTsiiH9IpK7E/Y1+0Q39RTD/u4
J+e+ovPItPuFXjYeDtvDlWd+c1oNsYemdyu90b72+Cwcwi/Az1UHrZ7e0jw3qX1MRJJovbXGP8qn
d/MluYE/A4cBsG/cF6P1mKTjQ1QTitoLj/REOghFgNshy8Y3aHVYGJgZOaJ6bqwf3kQl1/aG61wf
DiI/DhLHojcjvsio+2GRZhqZ09mN0nOuhXthhK9C/mZoClVrroXhnV0bqkBrR3zauOkY/yU9ztse
MW8YFvcQyc/j5BNpka9SQqYL27oWdv9ERIEZUUzP6ieInHd22aar0rL2Xax9bz1Lh/IYkwo/3XvG
8piWw3QwLBx3jV9edE17qDQ6xIzd0jRIT6QthYfcn+8qGRk/BD/dEhJPWhNHGWGLgHQLt9MxL+vQ
zDYxPg3WhGmt3ACANU6a1QivzvOzx8n0CK4bl513bhhsrYnh9jc+dQi/xpUjLaprK2H4D3j3rqsf
53Qef2KwQorupxgaZm3ckXl9NPrgqkbz5w/+ZVfUnCZNOTy/0r3kwTJ8feWSjQYENpkva5tgn264
rD2bkKMZ9S/i29aivKm9jX59kQ6gJsrQeiL1vhLJ8xRgzwgDQLNelZzpledbfySWjSLCnSfgVXlO
9a00c74yyI6BE8neTEx3PRMavBtrx96x98AnEDWxb/jsNgHNJNnyWvcVTYjcLKOVVdkIxPElpZ5n
7KySgXwoJzIO0pFNnX9vtHFaL2IgjBydBrTCSMOYnact+UAJK7AaC+pPM3NBZuonb/DX852vxWQT
Ld53t8+uLdfq1mIKEM3V2JrL4BbjEu6XIg3XlBQfPMB1W9cOHuPS3RcQfpmUHZlLOKt8YNtZuo+p
1LJvaPIHmwr3Mkf6cgZt/aOMd6Th3JeZ/xPcSL0dyurkQwbBB0hAYeCL11Y3HewWE7n3UIMtKqpr
ASlycZ16lWDb3bjU78VzmWEPK3My1TEh0pFonX6lT9C+OKWkh7QiZZL+E3xJj1jD+gzUFDJRmL6A
QTn2UEAoFBEizCqoCs0GIvaacZHbCXmsVU7OpOUEs+VK/h/AHSa+lqNlrsxt2nF9hZz/wA7PmcZB
e+o33YDEy9s0JSW7OqPK0CxcHMsiZiA0YffSsdXGibMuyQOixFBuYPuRUL6Qu9KQ0ZvTKuBq5iIB
1UO0/HhiSNjUZ01ss5ArdzYWFIq/tJR7zm2ZRrvFM0kAmJppU+LJo31L2ouXvhDWsGzNvAH039T3
QUbWYGNl12m7UG7SXvLJpUE1clxJtVbgvIoShl0tV6SR4OuG83vFbIWuFj5Na35tbf+toR7C1jBe
vX3YkIJAogUupOlHRx+ySdO7GPawOxbeOnDCR9mQptsFEbeLCId0sn0j006we2G7TPF4jjXqjSBg
SG+ky7Ry7TxZz2NyNL0o3kA2Jg2zkz+/c+ONh2W6bkwSwX13n9UBM2aL+eBkOnwgRp7W1m+IGB23
A5YcyJTtHvRbuK31Y0sjrclydkFh0fOzfg4es2EiX+xBu55kwR7PeLIuegiwZbgRPZF+UgYU+dqb
iJKLNCvfGllPFwMx1RWlwvMlKfCgGQk1IbSE1BnngE+wOgZifqs5ghrKzpphPA0xpZtuBmw0/Zyg
XmN0IIOgbK5Gg/auRukbD9miUzrVnZ8pJYNdVdE6oCKz7nCJRvZSEK0F8zpnMoOwzytnSTVIdxY1
WMR6Nu48usZJ+mZmItva2UJFMKnctU+o+YL7J+UcWmn2o5saZ1xcFa4dca3lAyhqw/ratX284vhu
1l3Ld8pIvStI6cQZ5Fwnad4T8tX6K7I+NxztrH2HqCaGCEmtNoX1QGMNz47f5JyoZnaIQG+Qtmt3
nnTT51VnrDuMciWGiP1k+ukGk3Km/WhQQFI3oLPT29rERRTiTj7VT2l2ncH42hDZJ1ZNuDbNSlz2
fT2tMAZv054IpaLeVj3mMrO/9HVM+ShjmzUsLZ9TQnhQDf//A578A/CEgYuFkuavVTnPX1vG5GFX
FtBNlM7n+P3//7/fX/a7NscwnN98w7Qd9De+5J1AG/ldm4MU5jfXBDSCKAbW2L9kOZJ0gkgG1c2/
tDe/kE5sy6YWgYzHtaAl/e9IJ5JX9i5NkV/T8iCZeQZITTxRuoNE6BN4idJ/3VOJcG5T3WZ/b9L5
2HYh3RAd509PIS03SaPxqMR0zP/3zlieC10vd0rL31ZU6vzGPxDZqgPkTn/+sib/WSGjvh2yIVRI
ug8bStifFDKhDaDLjTrrFvTnql5K6zLzUYF0nmYf48y4JUXyzjYwlBZlQiJACbvVdQxo7SFyfzf3
4q2KgAwgb0SenVwEC+0tUKVUYQ2kGX0Q73IiUMqFCYlZBt/+4evLlfdp5fq+CbPG8xxgMvYnWFwT
dunYlIZFANVUfcFKmlzVC1C61K0qRhOW2IRG5N9gA+3N8csc6t1NZ4hz7rjRBYPL+EKE2anuvOLK
LbO1B7qr8zrj0a+aY1xq1K3yIAc9VjfHYWjvYNm05yA0yGvJiZypdPci17Lbf/hNcpX/+29yAdka
uud7/Dbj828CPREWfpKZt+zoBY0XIi+oghPYNIbHXuAFJUnQvkjZP5hgwbUMylo70XGdLyYrGPcx
PmYFRHWJefeT2qAD+AAeADh+klp3juw8hQUB4H7Y/YPeCsHan3x1jh0LNRuKNvPT3lRURdCHlS9u
acevdUejpmnsR6o4qyyn/esiUDsXi4wkmdPLoc+m16pdg4re2bY20KU2aNs30BincJl2Zl/mNChp
S6C5Wdf8BMgm4lIbwpiiNhcK0RRS/GNuKRxQL7LIbnLdFpFbnPrkhcAUZd/o6dxFC9FelMtMo52o
MUNBruMlAQsURbvawUukjRW8ffMamDe6OKsMD0uwRLdVwHA2wETda75xrOfwKo4cEgflTYroYoDk
ZjvUzppUv5wxUh5tcpR3BvAaK0D8jXZ7fvWZs668MX4etLK/BC+YbTlVTPtWD0xK3Eays7ggX6ul
MaXci+tsq9MwuDMFaAi9Do6l4RN1jbNqHCljOumDs1hM1qfU2GqG1a3mpKmPU6tDS9Cq7zN1/GMe
ty+iAMhB8Jd1GxnVwc7b5v2S9Tb9V/ij/LOzx5/tqo6JFMQRtgG48hMr1htxUFOLFrca5tfBZayb
MRbZB+h1UdRaR88VV4z3CPmc20e6mAxfcw/WSFii+cOncsmEeN+DszbSBh1Yb9yO2iZMAcub/rxs
uNBe+vRxn//hCPt3xK086blSielTYOeUzL/sxr8I6xxNd5PJblBj2ATq6U50F6bOtemmeN4R+O7o
NCZs+JCxCBaySysCSayl963/VYeORVhW/NNDln8YUXYeWwbrOKzzrVkXDCaiPt7//ddVKsVPJwQT
NZjnOrrPaeHzOXrw/YKZ6mTc5vRtbqAnr705hemTXUR9SRiSR6suKbyTV1gXxlKkF0aYPMap1/2D
JNGUCtL/+CI+NmJP59vY6vD/Zb0xS4Drp7OVAATfg9qxLppnNCL48mOs5rrWP+XDl7QsrHsS4y9D
ISf1aOau1aqc225HyGN21RSdtSGDZE2qt56IY0XDeNW0Buz5RLtg48gcI2JAp9w9ini4G1KrvCrq
+TQG1MLDgGS+xq31C7TSMyrq7IV+rvYPGFLxJ7uIaepgyYAC2uZ/nMmEpZV+rQf6bTvFb1YPXhJr
siyNm+4mS+w7gBE/ndK71bSaQlYwZa8JQ19jHhxQLOayq5Ku38/e0hwjFz5eR+1ktWjTfvELbVNr
+PP/fidx/l3qqvZpyOfymsF/CI4/qX+NKtFB5g7itmk7byPoQ+w5SUPp7t8q5jPXBAST7pvBx+3d
1N720HDPeZPQFMOd2af2jUGeFFneuOpxo1+Apko3MBpfwfKjqdfZKKZnpsf/Juy8mhxltiz6i4jA
m9cS8q5suxei2uEhITEJv34W9J1b3/TE3HlRSCqVqoQwJ8/Ze2006XeGbUTHuoN19G2YFrF/QIxI
EFYNJKjiLxz6hVIYkOxWCokmRbeYfxteeUHkVl4gIlhQfc+eqZ5zWHMX/DnB1s9a46ApjxbQgDvV
H26NPyD/B48ERqcLIR89VjJ2fmsZs/oUJRVj5ZNFr+VUZ8aLEcTMXtQiATVr++RIwhyrUl0j19JI
1YVms3wos7WG3X/e7vZyrvjrmPAQhLMZbAc1t//XKTAjRKtHlGM8BYEoZsI4h+cpmevz7GGVczVX
PWsBIKmU+uIyTTP5SeNEh3Oi96KV7aHU7WjXS/s0+8aeXtqt761u49iKSFA9JlajScKYZdhZxG/9
QGQ86Ww70fQidKGJg8mhNqwm+yWusFqwXFz4cu6r75MZBfpktnrz6teQO5opGq8moRozkh/h18XL
sHSsgs4GdNkjRuI6SJiJJ7aoe4OjWcOg/M9byqDY/l9byrLRpes228vR/9pSJFf3gxvZxpMS1Wcb
gu+D3ydf8oIdUZKnSmNKg/szts0GhVd5dhgoJD0JJsDGxXmKCuihYrpWljeF//k/c/8uW1x9SQ9g
4aAbDvGSf/9nZRebmZ5PEoqEVZ8zYu8eA4fAY9TJUaP5l9bTQAMxg9FgoxFpDI8+ambngVaatll3
X2Hlw8GZWofGuWbBAbNxmPSDfpmi4DqbtYbJn3aEbQptB5OWJpScWZ/2ybK4PMS9rT+P1me0U5wT
x9mgg+vah9zr3jW87EcCMSttTvdl4TSw4qqYUZLYo26hs0agHP0RHU3OsvNbC59kENYGZB6ByPAC
wfjhBvLqFrh37pAWHICiK3UV0sMILcOYbnn+nuVTfyFYRhScmqk96kUv+SkvDWM3+BYYYCHKHWv8
likwAZ8yNiWCPoz1jAljBIDp/5foYAb2/1S/26hedJ0DyuKsZhKp/bedYfaZroCsjZ+Qo9S3UkNk
YmtA65wK9H+tXRyn+ZlGqtuRxukfuyw9BVaVvHaz1h5HB0ZV4n33VUtvfeppXJrePIf4bigbDf3o
MX1FotgBAHZiW24y93shIep52RBtp2DUb+hDdgxl80fd+Np1jfGcR+qtG1z9CtI5C/K7PmhxyAbT
cXu3P9Le3ZfIkWF5OE7yPA6m+1J2GlJhlAZmZg4MFbdqgDjpc0hjzU77azXxkQbboFYF+d8HsR5y
xcnOfUZGsSqePeJLwzmhShrc4OAizM98BDkiobHo+lO111uhh6XCSw77eCTNI1eXP/fM/kmVNvMT
ZWHFiCJC5SEq5yq/O824LWvwZZbWensPkaSIEQfSzaq2wldkZufmczCP0RMATLe/VO4YhV2TfTZG
rz1k+CIVHXY4LkgU2nliTytmuaSTPxSNl97jxA8eGlyP6N6lhzZJt4jEhL7DJIbFWI8UKndUxoyN
5HJF0Xtrii9TaxiM0ztJJ1GPcSeYp6HRJtwWRslkfSsD6oE2GhVMEGbcxGFlt8lHg6uiwN1aqvyB
vHs6VG3C53TsG13XC1Sd9A6obInfQ3PabPScaPjBGvFEeCCTSr2rt8rwN6Uz/MrMsTjrCIZLeG57
149U2CIhcWetf7JH9h6+3mIvSu+nkWkR6VmIaOYRNh5y91s2BNbj0GXfpEW0lV8ltPsL92mqpgeu
GcZx8N1Hch7pjibzY8r0yAbRGbYGO0RGYKsmZH1oIFbumHD8tAvTPCoP0HE7oLZkhnVkDDzDNhrT
jebXJwpj42A5Fv4GMtxTDaZpJmj26ni4z8XkPgoOlYMSQXcVIeufaB9UyYWAll8kXvr0EmR2LQzA
RaZLyGnC4OMWTam8FW0QzmXfHn3UPWczmLa0M1DtR1xvGTUjaZZjeY2EvDKa0h9021dPHk1vFHna
Zqj4WG7aTXe/MImn9GEup2lSoVyoQVCNJVmkU++CFmYVFs9HTFE5/b/fdcEBpgq8OYbe3KDNXCNK
rjqW6jpZURz2gG3D1KSn89BQgXNCRjShWe65Y963H1tUqDzV3mlry7tdzLjfSTXZZolenNuCiJ7a
sQWaP2K9fV19Qk3DjkFbj9aABihL4/MP80HIAH7ibOuPRQdLcpqn8TE7OhWS9rRjI8lMQJIprSVz
WDA8TtL4JgZS4wBQX8rEfe8jwNEOXqGUDvndKIZmXxBL8RA5GiMufxbE+CIBN9vgB3qSTTFY31Tk
a/sBCBQo1A6sj8eev1XL2NyaY861TNa8LlO3YLnxBFaHxqcpxNrOO5MJl+8HVfycaGU+zt3YHTXy
F2uC2LVmtl/rSl7bNoqvqWsZD33QDgcDQRfZ9eYLcppFWTHfCG0jgAGKAaBM1H5+9Z1gwp9TpHn7
ei5pkHfBcJlJU6QYSzaG0aqzcN4SwVoon5N8A2L3wQ4Q96y1TJyld4nA8hZ57S1OouQQizLaxzmq
BFoZ1HdDQ3yVzFxwjEN9Gr1luhx5j32tvjUMdYtGJS92biPBJPRrsOYv8OmbXdl40L/6Jg+bwatf
R/suIHVx+jLunKeSsAeiKU0YVF4iox2q6xCOdrnpXFiqxqBgPg3ar6QzrGPfRo8WZowHGfT2m2GY
b1qChl75cPKn1CHMuV+c1v+4uzqvp70yccSu/tBhcVmzLBJ/HppSAdlYf+JnwZ2z8ryzF2CxU/mz
vp0V5+o/j3X0phHhz2iuUT02/7bMgxy6IkLy4MOyWfvF+P1x0wYnPRXO0ats9g80JnLr+ebP1Vxs
W9RFmCi6MF90FOlyQ7zVdIqEB/DMHAioT1EMoSRhvDnsTca2WaxNaLGH9z9PJ2CkXNTlApXrCT1K
fyqtqEMUUcIAth0Cr5tSnko7wkpIJZsqmEEPHx7l1VaL4EmecAn8cMux3cFXXCZoctqatT7txqp4
i+34rXX7du8PS6g61CVYLbAAUCpzAUqSILQGIz3jIADa1g5EmM7Ti5lwoi7NEtX+eKp65RxXV/fq
G15v/no4L8F9s9Y4D14gCbO3BcQrWX2COFhRHPx3ZO1qxv14iMzePgyYYYLF8r1acFff9/pwvRej
t4EStfw4QybQGhoDaa+6t8p4yQry2bWOS7JXwNQfOdmHpMA9tIkZhD3+gj361ldyljC+xb0Mh3wi
vCBrEfF357apya4zfuHYuDIIwuGsk6neeoOxyX3cPV2z6KLBJYQKTve2a0YdovK48UFy3IrgtUM8
vYvJQNlqYDlHwqbmcVWIu6D6htwNoxFVOlmq8AqjTZ+g/5VTjaKwWBJJm5INRb/iNLb6by3Q3gMs
m6nmcXjiYcYTVRwxQWxbYqCUzO0wHsatR4lz8fMJQ3ZNBFvDtb+wjeaA9avSGBsvyXzdLIEXoEVG
2ztcTIUMjLV6Qdyc9uI6aR4mEboxzOxOWAJOQHwkz7SGDtWixSlWvEO6OPzz5YbL1zGIEZ2vT2WL
GHd93Xpvfe7jtX9+9//88cc7OAnNwW7Qks3ff7NcSVYff0Y0erpHdnL+x3vn62vMZij2RuWd0J5g
tfp4c7FURQRe/mqlMOft+oOa09O8yQc43ePMWm99h/UnH7+3/ivrwzwWJjV/HBrxpJHbl8GbqdQu
yzhCah+Lw6SxQPLr7meWRUgQLUb48ziHZhBZqEAWqcx6M5smEW6ZDjkw6zjhT8YOvi0CD8NHgxZg
WPednOWl4+lnHV5XmAcDKw4b98lGmD+SLHWPqZ44J/hjzikfHYiKlRPoO61LXkbf50hef7ze9KyD
ToSF5huzEfbCI0pt8Jb8NldB5wQ54dxmGEjX161PrTfrw5KUWULg0Q4vb7I+7xT+v+6JQqdroGdB
+PELVPIL043JAyGu/gEl3kPma92xxKh1clounpGmS3NTzBrOldk5ZF/iMXpxSsff0n6qT1HsYNhc
71alJsE+CR8Z0PrEejO6OmCzbMF/1Et4Z99YaFj/zW9a4WEfD1fmkreSyD6e/KA9fTy3/t766vW5
j7fBClDAUfM5x4x4XMPeM2kirFAunAw+noBcvaIOTHd/cF8rAenjplpBRR+PV9jR//lw/cGKT/p4
CfhYKLkfj/96h/UHlAMDyPy8CZOeXsefV5dlHfzr7rziaj5+kyh2kqS55OBZ4SwPtu0fOKuPl338
0RVg9fFwvffX69Zp2Mdz//jg60/++hWEMdp2tq6BJR5b2qcdg/2FSqZ6YpfEZn0fMmFk97JCnggT
Lsm3WnwAIh+qEmS99yBLzzms39nHN7o+/MPfK1eYyT9YfB8v/fiiEdHGMJtXYN8f8l7llTOCm/Qw
6CZ1/0iyxlb2ddiwEO+X01yL2HrernuAms1MfllpZf9C7bWsjoyGwGMIdQRqVuUxlxRPFRrWPzct
/FZscv9+HDmxtsH86WCFdRcgisMKg/PtB44NtwDZm4QaFBqiLUeD/an7I/xGEE7r99JS+O7Mpn4V
rOqO0VLBmMsXPHdvRdpt1w341+Zfn/vHVyTW3fTPVv+4G+UCBFTa99/8Pv7hkSEHhCatz1ONNGPu
fYGoyqsQdESAKzXCw2dHPZP7nSMgYsWlkyukSX+Xoj/Yu1HUI9hjhmnnY771vD7Ziq6T+yHoK2Qv
LDYzc26vjCCuqjGbz86j5kbWxa+eIsOJSSPEJg7YdTPXqAP6xPg+G9K+NbX+6pDjcjS7W48u4hyU
9lNDBOmBRst3Ij/x1txsLy+2NqdgrnlMiWTTbmuzca9pn7zOreZRIthwN/HXuo3/veZk9dAXmf6Q
jkMCV5FrPSaFbw3Jmbe6x12lbCs6Ir45kwZDa8zVvwWJ78IXzYAR+MZXJ0dlM43pQ2+WGl79TgDb
b3ZtD8A90iO1q0YW9Jo9vaezgqE71Oc0owOl6yyemDCZ1AaBu2tB8G+s3APfC+/zSJjPj5kB8G4s
AaFHsYwfdaTb5GBVdvuUxdMnx61xvVceMb7ltNNlHxwiZwR9rgfPTRWnz56cm70YsjfyN8g2LP0i
NCYRh9ZU+9usHJ13c6BhRi5DvJdxehw5GO5wOS3cqgWGn7S+Bpn+2Zlsh0tsFGzSUsUhm/0GqLnf
pG31Q6v06joIPFZFlR3ogz5yQmrO9uwmR2AEtyxzB0Bm+RMcj/K1H+Il98P+rsxJ/9QWGB+d+lxr
nreD1gO2HJdh78Je7eYhO0Z+DIE/51KYEXYlLXoGfB8/Zs+6DYFwzimucjKN8x3Tod9lTZ8y10t3
oxMZtXEaNMbkBdkJEU5+9cnPWYtZr4ogufcl4hgpUL+w4+Ji7zUb0an+kru0cRxDNo+mJOjAgQ1U
SHJ7mtp/8DtNwQeKSMqth/sw9c3BM9T0jC/n4CAP1TynfzI7lE7KmhbJnZ+fiSKT7GoZCz0udJhF
b7MdxccqY4iZVTF022Lfd09djxixH2wf7IL4FA+ecbTr9NgMUbHrJ3qIuiNQkkU5mafILs9q1L71
hyLH9azy4FIkJTq3MiHDzPiuIX8Cdcs4YZIAQ2yS3dFhNc7Rcp09wWoBMDpf43QhyG7yKY9qX/4s
yfbDGWV8Yn5DBcsKfWdgB+borm+qYcea4PcgIqvOOHxeEmGZl/J9ZuT8qcMuLTCNpFX0ZKT2N6ux
1WOsIudUT9OVEV55czyMgtQqw7Gtlb6ZavmpVa3zAgD9WphtdpG6+lG19KhisLPXSSvHsB+ZIwV6
F84M1199rdiOeqa2VZm3h0rWn0bLF0fWp0dEEfoeQO4FcRrzi3Q4CuYmbl2158GYg61pZvx3bGA8
yjbSo2l+y1BvvS6h75GpHnNrF7uxfPJLyOk10RipU9AqZipqFB4lUmEi453Uvk1tfc/QRm0oNqG6
arF+8RO3xnTB/KCppvgcLJIxh0QSE8MavARCgpGenLs5+Kxg9V9sCeNhMEllAr6hh1j0sGqQEU3+
G+lfVWkCgW4sEJQemFScAAjhvkwj/zmrfZLb2u6LBsEXAVoRXXEW/Jq66ksivB0vqXaIKtm79V6c
G9X3z0gPgB6b9BN4iOEHkaJNVcYs/jvEUuNWCf/WJ7k8Tp72FdGguHU4lmBfm/jB3SWXjXhpxq4/
TL1+hViDN3iCfyG8A76Xa1aKL7XW3lynVXs9YtYaqK96h7sNlf60JSIgCpfxo2H90vGbw4V6N76Y
UTVf8cZs2/YovN54TadvqUdiAfEx30azdw99Njx3Tvab6I/2gDHjnjs13dySKETWsq+SCTU+wqk9
ltMzMfT6dlAu2dZuhRlvoMNooWCtLFfuPVathGhqb4YJwN+D8JiZr4nlh4pxwMVp8OswefCwWaCg
m/xBP0+xfqyTdjc402fM9XIrYtndnKHKtnXdBNvAe4Gs3l7iqqPRn6hQZYO/1yJWgJPmxcTXZQJ2
AFiIdLxUOql0DnF0XS9eTOnT0rLEPenHMvRTo7+U8/d6Mf7AUn7qzfGFUs7djkwPVDFOXyyZXy0S
tqWVJS8BwYp7I8ngP8hWYFwckzfNioYnD4lgOgfIf2a3fxqmH6lpt9816WI9a2YcMjk7Ld3IimU0
UjrPU9OmHeKRHlAuniawIBu/wBvXL4M+DogWNPbT0Nm4g5dnIituiVSqfuFzIxvAXqxItbvXVXXx
bUc7zIQkkSyTQrWNOGCwkO5Twd+xs0Fc40z12MVGjou+zGkN59nbhMGvjeFuTH6Z3buob9mtic8d
AwSrI3mZCuz3Cf1/u2Wf2EjXPPeSCwMQHwzG3fTTdcieXZLkcAC+a3rrHfEKctou6UXjWOP4pqik
9CJZuugUrfsJ0UPfHWZqqEfP7fYnS6+do/I1b6sPTcel18aZkGNptO3fZOGOn4STnXIde5FNdPWz
LGJ8j2m81+tsJn0kf7eSqb7KodIfJHPqU/ekoVg/u429yzjR7xm7sJS3vX0zVTH97pJrGF1R0z0O
tTu+0Vph99WInmlRqi68+ZPvukutNL7TnNf3BXmxD34zBlc7CxAPwZoPVK5u7fgUi6/8yfk4shXw
fc5fMFLaBBMBEMm1QTK5tybSbGmZIr8khLny3ro6p7xAlExaVOShrc0/x0W3SM1N4upHU+5ad6I1
pzPbFVFSPehkBc1Uql9ssCDDaFO80mINoOGQBD3CU0/Ua+5UJuIyO9/hmLyrlu5n5vJPZBpq9ZRo
2NFCA0pbmOYK+EHdfWd4Z9x0MmXYkFZZjl8Bphhb14l/xS2TuZo505NSGmVll1y84FHFgxuaVfGC
47sJh5RoG0L+IBoRYrOR03w3ZgufKmvlsfPkHReg3Lqx+pSyaqaDPKevkdtf4zhyNo0zzXsMsRuf
LC4rC36mjSr2+sDhijFTbDNP3rS8a0M1WduMlNbPuv2bqo6AWxNqTuVgUVW9+MUw59npTf0nKl8a
yYH7mauX2MLGC4GPmU+i8N6SuZzfk9iNMDPPFftHQ8045ECEchcfstlo+8AjGFBzxuAoY0zXFnnI
TfXdA4kYpHIkg8IguMCeNdpsUX+Z4yS4IDq/GwSs7mfUI9u06NODzFlptNTSF5bifZB7T5pcKi8y
vfqIBNDc8J9IK2oP3dIuAXzJlM0Q9a4oGrCyyiU3y+5pCwNMSMoRAcSS6E1Yqvs1iItvfoLfwync
5jIaQzjiEjrrHRrbPB91sPdNsBlj69GvSv/RIUgzWiwqxZieGQkeaGXTV7Hnrw1OnzNcJsKkxyY0
etpwIENpjMRddGp66zlDM4PZzO0OjSaplt28ODKs4rcVA7uCYj8pLLXRA/OyRg0nNmaO7E14GsHK
eldsO09HiBT4j0IF0yk39a+A5UVYGFxQPIaqlQJqv9T0kgvfQXjqZ+MYdzXtBNbVfVZ60bnJcfvM
zZ08dD8EwX3MZ+Iju1KGOKK9xyarvwojP6e9AK1qwBLWZvg4GdO3vRz5dyirMjQR3XBMjPI5m7Th
GPh9HirN/03BY521FmcFVvf5qOAWuFzb7uifji1GlX0Pm40Wrnp3JQMYW+vTN4dkBoJETkpFlE2u
nHdp2+Q4Czy6S5bDQY/7gsSGGwb7xcVAptvk/apk9G7XX1NLV88urvGit76Skh3cvUB8roLcOHWm
XW5NISfqzRFWTeY4B83oz3WORT9JkfpB6y6vALDxw2Pd97WhJHHGOyXLe5ZORwzKxm0C43UgQdwi
6JxJ2+yfQEkz+tL9Z3KJt8XUO+eihtqTTWjnEBeWezyh5t6wlb9Fbfub3vhzklRsrNrj65NQvoQ7
HebY+FqP0ZXyCBir5e4Xt8KNkIMobdXjkF8Ijvva2KPxaCYBIKqmEaFT1/Nd8U08CAsGBLa6h4hs
qdrorH00dY9T5/fH3IGJZ7+4TWFfja5zsNIZ9dVMhqcCHxicuPQKxGvaCFRTu8IQYPTB43i+n+xX
eWacFiRUawkOSA2RbGJKhhxOyzQIu3ydDCJsl2I819Tt+2Axv+mBlazykjKpN8Smebdxkj8Mv97Y
DKgvgw/hxZfzscePs2ErLIFpxCNZeBzWfRyZbJjHpTiO6fgbGSJMUnIDGb4w7WdY86BMxtUpfBQE
UuemL35Bz5xDZDg6xVGdn1zUo25UGs/Qnj4lvnZhSlPfYvVNEwg1fZqQjwiiszBuuLqvNzli1ysp
gZ/H3OsPVH7lZS5J0PYb1mdVUmKaQolU+N0msQlFYHnzKn0o2fkX2eIMlgFeo8gVET6EhkUa0W94
jZDQ1OZwyjDbX7Oo+fSv1kChWcc41841T6r8wuuG3YTcdHYEmCDWIw8ZC+cw52JzyAP/JxP/AyeD
/tzI/KnJMS7AILd3uG7OEwGWXOUc7WoHI4ECjemGhtKe7XH6xfpaQuV2vmPZIaIIltRhTGrjgTXR
uYAiw4DPP/p5givZ13/WMzkP3lxpO9125LnvMR5z3BzEUOdMxDS5jFaiUDexPWUkc1mVTV+opgdv
t0WwgY1DlGWA5ZYWsHlsOh4mQtnoCCYdRGiQcnXL662s6gF6KvA/VsQtYa1oh2nbFOeq1jPYRfOj
W5QaCfTTA5na8lSlOGOMQCFGwhupvK0c+gODCItQnZ/g1LbeVI+XjtXYkTr8M/uMPEvruaOr8ZTn
wU0TdGk6XS93RASpxwnARNcl4PQs1D1xbNtPTkB8Evk40s6qa0H2IPFk1sHVo4xztI+TiPjpTRLB
IjDpvJ7MTOuB40jqeWRdu7gqyYqw08+SnuLVaStiuWJiR2hwpdsi8YJ9Mun5Bh3muNfgLGwEqt8z
bzaRlbnxpmY6uNJF7daa0QMMmHFTdPKnSIfoqkT8aMYDSNAo+KQ6A4lypRtnrrsdSBefUBpWizrC
QNzO4GHKwi4PAULBreUV6OScfsvUt7lhpmr2HUA4YOyi3JJjhidqenA1WB32lP2qR2assawgN0dO
fwnKPCBZqCjw9Bm/NbxmVw+H3ty3zX0kRTJ00/Q0s5duVOv3hwqoB5NphttJVBg3rTzksk4ugpEX
wxUdizTUKoCccHKSOTu59Ge0ZLyP0n0TQru6AGB2tmd0YY/rDHHHdO2yACJKGfdXLy7uWtPqG3dZ
kMSNk93KGVASaBGPtNWfI9E9ZRmQUGP35tvIKTHo3PR1aDsGv4N3a6TZfAvKYYfF64dpBjHrcfOl
IUkGii8qCjPACUtSdvnUu1QkMNR2kQZpE8uNpDInLgjxySPyS+sYwRPE2pNsKcYkHCs325Kn52xQ
62QhWsplyTD2KZGpnoTXOXrD1VQNoiiQll7kRocWuge9LAbnY0uGUqdPrNaXoiQzII3EgjUC40sm
7aI9NAniyzlF7Cis8dVywBJFjPkZGES4+zO8GBAPIgUWwYz80Db7aJ/1Rs8EAwuD7OyU+Z3+HlBB
OcAErm4uvgx5rp16x8yeDYthiNj6dotxarEk+KCaNrpdgNcSJJQMcfzddvLhFGTPYDCNG87I3+Vk
bsirzA4+YVobmZAdOQ0ILgkD5LxP/OOmZam3YY6i7YYiBc8s841XjdnFn+7aRCRPvURquokxE4L2
phF4tM39FCJOGVmomWYPwJXZ4eZiZi9L2zvl3USZlvfmrqtTg4GTveOIrhBKcqDiQ+4i7W5WitFV
a2/jTO/Pek6S/JJUVDzGnUqOYjnNjpNtbzovEft6aAgR8HxE4BDOHPeAzpso0YqwnLW/pstnQr7n
e7tATUCwacC+C/Kzq+jzJFqxjU1soXYh5N0aH7kapRdNel/WFkzhjfaG8BfjkH+16sKAy44giDha
DrfZVgwRwW7JOO/3WALTlkAnlY4Edg7DT6d0YXBF41ZmOkr9YnQ2nnJeHIlnuakdZBPNRHVQB09D
YJDHLVrWrNAI6ZKK33zsJ6tJ32BfmKGkZbqxnJaVpHAojoYlQ32RcCSR/q0zMgJx41xHdtsB4bcg
f5gJnjaz10/pZO/Ab6R7gYg7dOcK7ngSNQfTq2n/eVTW+M6KZ9Mo3vwhfQ4UFJMY8NzWHihAXH0o
d7hZ7R343ZuSXn8W06bSb3YdTSdHWL96JBYXo8RCamRdGASoJ1K9ZXcL3HGTwfCB38UVLqVSCefU
U6yTicHCq0OBMaBxlMK5JvlQnrM8uo+VvvO92nkfxdWcE/9ilQsrNMN9QnLaz1zDJlfqPftTO8Mr
S9OImrv+tYrhI+V/r4QrPwN8dLOHxPGjvc6H3ALgk3fIs6FjvjlKjb9JMAbQ7VBNW/ZwGIzvFFzp
vZtN+n6tKq6WTzwkWL4LqHhrl9XIU3OO5g3d5k059u21Hv2LExvVM31bc2OkrhdSTb11WZPuGTej
Hkgd/4Lg6KstBPSgGI9ED6Zt2xaR+ZDJottOjUTx4CtGH617cSMCLiDPALGpzxEwOybbGC69IE5e
J0YSSHXRh1RkDmc4pGFCEjIldeMyF8K+RsiiFU4Ve3qZikQcyQKMd7SVnM3aesziZn7QukczV3Tp
tQkzZZd9aVgMXzLws0PE/MVH83mOc3GX6SJeDLTQtJieQl+PT2PwLLzMO683BSDDfSLLZ5DjFspN
+1fCGhXhMOq5h1Gr3qfsRpVcX6rcVZ9zQGtwaLeVkWBvqPLgFVTiS8GBcI4xf7sSUzrcQppxqqDF
lSfdHSWcJODM3wfAQjjHb3WftquGycYLit9NMOhbT8xcyKS4WjkxfgxZAOHPEDPIwelODpp/I9cu
TdEXb6nK8qf2uymbfZXW+RtXZ+NSTQlIAlJSNTN70VHWb0tjYmRj2BNJzO0Gl6rcK1kAhpXtvF97
CwZkiLbRDvooUoBuKAwT5h+63xLY9JMI7+TcDJztc0t7qToemb0TTp0RXKcyP2o1LIVGa5sTBrhv
adP7W6NsOaJ8jPejT5c3JcNwpKj17Eod8DjQw0pMa5ODHKRhkx6mDJ6EkxjRASgxcqGppLdU+v5m
cKHoshhxQy1qXnRpqf1oJLsusbznypv2VodWr/aNG871b928KGgGIZ8rWD/VONbITvuMKAHHP2bV
AvZJa6DKWrKvlanfk6r+xCYQUHUowSfLeLQSPn7FhHKDuL0kgxlLd195dmhREe/R6LaY6XciUTWS
Pde8TIX2XRsHd1/5Yt6hAa7IGPnUxaU6JNEIFa4ChoA24xoRnwgZGxhW4cNmilRf3tr8e1BX4JjN
8h0UElxL5Cs4fuKryLtxW5lWtnOMjLORmxKJqTBxaKNhfXEGmsN595nYn+hE/NarJTpxkzHnLc82
on3TGiFE2PmpVUP1iFG5Yii/HRJWF7R8pkeXzMK7gs0McvRLqwt5qrGMIc3TkdGk84BGtuqufSVM
6AWsH0z/wYA7dsV05FzdIP8BdrU4gvrV7gz7X4KC0QftOvh8gC11CAQ0g1645hC23ZTeGaRPJBOS
FHBpHobgmb53/qJpv4upq3F0z8PGXpY6o8gvJLGindQLlDhxyt6WpcnFza17Ztc1UYdeeSvk258H
5sB+gSR7o6UI9lySuM6ahWAVkqS9TW2bjczi7DU1R3YSIx4uVud0UDQnAR1m9g6r4cIcF5aIZEXJ
qIiEO5gfc+b6l2ZgZGXGWn0Zp+xzD/LL1w39sWZgJZPe3Raq0TZgj1s6UeZhXSnyEVD9ZtrBkx3f
b8b53nc6BLautzfTuYfROkWs0WneqUw9OjErzjh6ahND3fkPqND9aVeMeL7zqFZbNL/7mi9rQ01j
hKhDvas7N+9zCbdP9Ug4mthwd3abf42X84nnRXAJOu0plkOGPn1SB3SMWkgZ6R1gQ9MC7p+Kyhqv
zA3IcBsV8YbL2FFILvsjwMvAJhu2WirWirIYSQy++J6LA80uf4nxBalKaLQ9yPqsay7NJ67DjSHR
ZHnVNovkuXH6YCsFsrlhwG/GZ0KT2A17v6chFyus8zXLsmb8QQMzP0z2lOyisQS5IlqyuVPk/JbZ
WRcCfs9Cn7M762TBUiB1Nn7iMIuoRI1ZFDpk2znGKw39gU43PdaD443Tq53Z2RPJvzSUJ0Qt3vQy
SodX6P/F3nk0x421WfqvTPQeFbgXPmJ6FplIz6QTSYnaIEhJBC68d79+HkA1H6sqprtn9r0QAmnE
9Ne87znPUS66MrHty2V5psQumOUNxQWMRjExmlMxuX5Qd+hysNBMIpJPgBPQScfXzJTYawzKvINb
/rKNxDxprItv86HcUogjCk/Z3w08ig6MB6czWgamzr0QGuJtMkfvjkAMKzJEt3U5QS5D3QFVUNVH
WTjU77JLj5oPF21koZFe7JPg/G9oYp1BnMf3cAhIexop9TZt3J5L5Bb0NO3b0m2VP7Phuqlt+RXA
wxja7Qsf1rMaXKjVClymZXSoC+yRfaceQQ835XNvFO+mrIbbwD3IzGvYP7MBKgOP9YedPc4RhuSx
PuRWV75KR9sNmfqSSdK5tc5u7+ciO5lVvC0sEKZrZy5J+amXYiCeVEx8epJcnrqS4laaMTnXT52J
AH0CAcIAmU53RQRwILCHV8uFTxd7AcG3xlFjp3STmu8actxD2IU+TYmKabNzfDqYIZkGdnRpC3J+
NJEEL1nU7twI90guWtrEgEd3qlZUQ0IUzClcaL+ZIJvlGSXYdrh00AHvn0LESheLIKMsfmHpVAGJ
qWMmZGKDO3thZhi0SjTbOMk8e0YqPV48cxwuE52isbGMczck1bVGsHLw3PndMcgc16WRXdazwirh
6iTiJazqch8YBTG2Jof1jLgDnKHaRC0pba4OuH174X+2FjqBWpC8JyWyMVeFKKe74nHAPkQnmY+Z
XDFkiTGImsLJ8Ssks3ia6hAqArRjoFZQKwhAGa817fvVXpbTXv0yxz8QYt1VZmC/NkuEqCdey9Hp
Ho1UlRdnqDC/D0CkbWCIRrKYChTFwKaYrxLC14MRf0eWaH0B4nUwJ69HYNbpW9LSygbwXCGJfm0/
CpV9i1j5H2g/UNVFvc6kPDt71rZnWmasvzJ1VuH4zdTJKhUR4aKea7CJzOK3VR8xhhPl6UFV19kk
lxulNOryIaeQ6brlwY36p8iL5Y0WMVJShnrreCIxWr0NaooP0VrEAlj8jGvdXvQq7aU3zZdMjI/I
8zziv4sfsZqzgwg0f5IQD63ZupqBC3US7PrJMzs/VhMbQ7e/1LSLLl6Q3ZQkx/vkBA4bIDvOxgBu
6ZceXA7LeA7xvZ9ZJtl+S5eb6imzQ+sADl5CFvta3qpyMvYK8Nw519ySdmDabokBBkOLj26Hvtvd
NxnVEzUY2naCnCSd8qlLXcI7XEaJXA8wntOd2sb51G6TJf+1IdiLQrOgrDi0xMXXSbxrMoB2XVJY
D4qIdfSp1im+ooEMno2mohnPaL/1bBQpykmpjebTG9LwiqDNc6hp9pVSFst+qe0gwMtnN3V+QWs5
Dsybh4zOC9jcCtW7q3BdUtOdLYt5YCqOCKuG44AEIY8oPFf90Rh0iI/ZO0aX4tAX6i6iILvBWdIA
IbV3DSHuSRc7P4YjPJTdMA/dYyHrOzcaar+2NMDVHfVPwBKgu5Le8KPEI6yJ+eeu6ttrbGJbzopv
GSW1DXYih/GlhG5SOu2eSOCzchBNTB68kKOXtvhebAfCVUh6Redk6XXMux9jLKhLwnQ3Jue5ErRI
Kgco4mjGuMXbbNi1JWA0+hZYBAvp264nrmxQHkgwqWEB1a+hod/CBMzuW0vuDTWE18YV91MXEbak
p4HPQAirJ8RQr+dA8TCsQJvTFs3jcKuZcNXquXlc/QStKZ6QaBantmVdRJz4l7gu+uOc2y+tSZBf
WzoTLhXtpzUwU2RRUu20yfOw25D47dJ12tqpMG7ytn0L66q9qH5aBKTWb+PzfxNR/gsiCvQHD3vv
f0xEuUvSt6jI3v7KQ/nzP/3JQ/HMP0xDYF2WhvCIkfGwA/8fHopugD6xbcfCt7rwSLjpTyiK4Sy3
OAQVYfJx+apjdm2Kro3ArRh/2MKyLFq2plz+7/9XVhGWur/b+6AFUCz1JOwRnoYweLi/e/BrGpY5
gj2k98qhn0MVbpiABToJgt8gemEVvC1HdLwlNTG/074krqCT3QFkjpKMQZtJFJQWIgyACuQZJy0Y
D1xQsWmevEDTzrpJTJhJZ5nJydh18hQNubqARSt1K9kaPQXDoW7fx0qnGtgA889IBEZx65uTOHq0
4PemTSD1bGRowdyw9+OIVpwsbKTftkX/HrVBzQZ6U7PgPPfN6DDyc/Z50MztKBU6Ll35luNpx/Um
GQrMDutpNRSU4rKw2Rda8uIBSEdVHv55CBlCz0ENbBSLx+Kh4yIq1RRxMwrnzzuvN6wHtdxlPVv/
yno25QhFQSjsxBjGdOc/ooZGhuZm8Bd0lnnrQRdddqnnwD5aMRlBk5RnrwED+vusLfyMheCWql0P
oNppT0E3I1Sa04ubeaR2eJ720FXK2RfBDcMkJruGdFR3WY18HmLRq62N2nw7JUGcUXLtLb/H5gQT
XpYXZasbojKo7N1mNmUeissxO91CAYXM7uXg/rBL+Gx4loedraffkAzBclfld9ft6SRMzkMwsD3F
aEPbKHZzMGX5IgJZCkPaa+dGWC77dN9XGhoRb5yPhU1ouWsptlus6LBby2vYSnEdqWlOmCDI0UAP
o+/jOsbdPlFFcI2NI5twZOMhohtt+jBygRbRg/PIs7kOTX6kxoTa3ehugqnbxa18Dwf2j2qkHAY3
QV4rTKxbUaOMQIcIKKu2qAz1hOCptP8ywe9GYTfd2CNblZrNIxRBK2IFVPPtbGdoJqnXHAfTODZl
nt2akQdzJ6v7gzGEvYnqoieVp2ZDaaIAGE2E7q7O/kBmqIScwGQt3W6KgYKpOxbWjZ4q++C488t6
m1cyDeqavqMI3kPg4g42W82TrLWD4KVfJ3cCb7A867aJXnpNTvtaYSxebsNLZ1xtld2xrnH8SJ+f
7TAmTcdsaWsl+XxTD7yswVa8H1Z68MhacuY23M8T7LJBzPEBYf8VmxC/+WaBc8YACfeN3fztuqF+
rSMcjy0F9TSJsosmPf2IYnEP54Rl1xJz2/DgBG8up+uVnwdMwzsN2c+GARB//WLTEiaPHLfTZb0k
EaahyMG0Oc6O69tA6pdg5V1VP8xW+DwqyHl8N+RlsZ0uTjFcrGQdGPY9BQYm4A4bFkXxfRL2t0bi
jfQD5qVlUpu+rBSibJs+Ej2Y+4S0ofOC1t71bvZ91YoP+DOOhQcTcVWK/1a0r6clxZ1aJMVRDxa6
wI/UTfuz2Y3DWS6HIX0zLT451yMzY1V9Z4sevMZx0rALOq5XeTV1LiGITqwNgrIYEvBQaAPrHLjP
/mDTW9WLEKNtxSIbcUwDykHGwDPt+Ecy9v0uMiQWqOUwLQ649Wy9bnT7A15X64BsBu9PAPV4FvYx
o09EZ9Obd2bZVEA0vTej9tI9NaA/ZepzFr4JVYvd73dyKWEU7oiPdHljcxMEJ/nCxwkDuC8t7PBM
Y/WO1RWxGnyxQQaiHcS/m26NkPhzZ0341OHcn40llLHVK/tk0yxeUMLNshhqYyM7smTa61ZIaRd7
ZocrPtPsiY53+2zMk31mlT/uZZE/YUs0fYVsi/7p0Gz1QCBynbBHM1XyMbas5gdQ5SQ+G/SwmjkA
p3TT9FW0tyCT5kbvnSgLoEVB/bAEuiy2AgxyTBXr6aryXxO11zOQhJA1lFZsCk1HEbDYFNYvwCqX
X8+aonhskVvuV/PIkot5pmjHdPXbR9Itk1dK6IwXsJQkn2sCpNIOZ61OBjLgFw9GivAtbI3pLHv5
QzqOvrO6wNwbc/PgkL52robGOELxnJpXq/kVLhGlhBpQrpwBiJ6drbT4peYeqhWqAQbdA/tDQezY
rfdMC5Mwd7Ylv++NkxloaFA0lJk6VOBxeXQHqY6W0e7r6YR81SUJYICay3C4c0H4+tpsfpUpu8yx
P/3jta8Xe7Wmw8/hdWoi9/fb0MQ9LWOC49Y3ZT2sWerWaN+kcnqnntttKZcZZ5Mk150FGxUKmUeL
OaPKFVfRNtX5diTLF3TRfs4TbbJaet0OtAPtC633zvPt6BgFFA+xbxaHpJvXN4NVJAdiN+Co2DCN
Oy8WGISoUCiUi+caJyqpRecYv+xZh4A8WgqwN6sAvY++oCfS9l2GL9mLB6Ra7IDZB/V+taQCrwdM
owxgxZIc7FjEHHtbG3L3Keop1i4hu2TxoaJSwTG1mQuoYmK/htNoL5Tiz8N6XTN3D3pYAzhYPanL
wfjX2XrdosU9Z0qD3ho6tR8VWO/5mh3XX3+oC0aD9XQ9uPCUiDlxliSa9iYOyYQrdZEjRA2G83po
BTkxsgnO6xhEL/lqR220yXPUCY3s77TSnnetqX9fH3cdbz+fxufFOSBhOrezPag/FoS0E4IW/vtq
FumrCUyom35tLGgcK/x7PTRaavpNxjtS6CEQJKeqDrK1PjLWX7u1PwDQx5/zcjzK/EkL7ERHBM03
MzLxiEvKytv1t/nbZmPaBGhRykK3ueSDDDBATiX7zp7ADjmEryliqZj/CGlt2DerY6sykksHoPiw
GmtW9042LwbB9fTTcvN5s8iODayX0+dt613XOyDOLE9O/91YgpmdIbaOAwW39ZK7vCnxsqn/vPj7
DPrDyRgY2is7FLv1ugJhJCPW8l9K3Bv9Ja4KekWOdTB4xTkd3rMZp/pN3DvzDQXSU19qYDWdbKJ4
lf9SWS/OQjPEuSqJSxaeR/IZLrp0scetZ6tRjrIeHrr1dL3y8z7/t+ucZqT+p4Wkgi5/6/OQ5fAl
RNX7n1f94/+vN9iLoXc960bK3HSmoDMsPz3aH2q4W0+rGokSSX5yWbCDeB0Z0DssvBU9rSNqFIbF
f02hnxfXs37GGrtZb14vr9Ps58XMqPysx2jdjrXa5EIfkeow5chl8ql76olwh7jMvhniGoGLfdYM
KdUorz6vBzAEwFrctnOPfTVsB6PsbtbD6DiFPzEjb1NbIUMWuJgD6ZBq5zFEn6ep688B8X7NUfVJ
cJiItMQVYk68G3YZLtzp5XT0epbJtEDJvf7HTX+5l+riAdoA8YS/75XviO8qT7PD6LOj6Zid0dvg
uF3O1kOX6c2ft5SJTdb5ei27FkJx1lPqMmRK4FHAO7ecTqsl8POvSOjfW8SRfXpBmJ34RcVeAId+
jX3h9x//6zWffzJQQXZe/+J63dhI99ThWViu/se9otXJuN7y+3R99N9PZL3rellVDg7G9fLvR/z8
U3qcV1vp2W1+cZyJAWJ5+etj/+NZ/H7anzd//vX/h+sKOu1OpdeI0pLgNAfT1LAfVaG5RVxW0aIw
Ztqc0xPxRTC01SBp7Fe3ZowKtR1yBr05f4kXqXLhlS9JafQsZmdrn1MzpLbo3DfJWH5jK/zBEv0N
bUa1m2F2+dWsQeOQ3F0UEHwy0oO2qomeR4sqLpag4Gx7M2lqHbFnAWQgambTLlVei0KkfQJXw0zj
Nt3SPSPnoe+fZir6flfpX204QJuWJobTO5cwhzkeodSJZe7hj+JlItHYYC1p9qnGxGc7+xaT1Q6x
Hdv2Nq75LbSNHzd5RDmxBLKSt7+IkFRLEGewjfT+FZ8TDGf7mxsjUHXKmKh07ONmXe+nUXw3NFAC
/b4v8J7ICmDwbKNMcTobnv9coJdKCOnmfUsb81IUQNkMpV4jt81vo+jnML2nHvoegypvH2s9grPo
awvgnuy+iK4CG9K8GM+hYdDKLe9EGbZ8VJW2acLupx2kfql71kFiliLTMt+HNTu3rm6/ao7909L8
GoAMroGJuZX/uoFR85iMwd5I9lZNYBvtKPCDKUiM1HhHM/XgUZp46bN3IkJ2HUuuO/zOb1nNWreq
SQZS+n1FSDrhKTSIOKu3gLnZcZgdoVj2d0TKum/mXnMqEkL19AVREKNF2bLLPow1DOXM1qCpU+Cr
gbLTM2jf9LmJ/LEOX4gEjS8JKH7ESl3rl2wfkQ30Bw1R+Qa/xG5E5rVXZZRviZ+mITyIc8xMvSU2
eiaMVj3No3gOnIW3LoHj2CxAAb+ec8sWhxEx9qAju0KzaByHUHxxh9o8GGlxirLKfFSm+8Ut09uB
yjITCSrxVoR3XRMf2moc/JnqsEc5gyZNkB6U7cHrrNAMZdCJVBz8xJVww78KDCe1ZJI0KU8rBrjG
BBU4RwyTigXWpir8GHvFwTLJpZn1O0/V+ikJ2/qsO0j9+mm68yYNUreWkihEH6Ph+ypEgDSWaM2+
Ql9epM3OHMCxu91s7EeJJr1De4dkE16DWZ2btn2XyyLL1Z3xNJRfNdiXgCdIZTPK2qeKvLWIKWJN
1FpXdy4IXOijaiO9JL6YsjcOUE4e6e7HE277lGZ5biVIRax3q7EeoTLq34AFfS0ZorZTn+g4OOiD
DMiLDnIe+quuX1Vj0mcfsRaaMNy4F8IVJL0BSRe3dPNNu2u3NIUe7KJr7qf8A9X+F+CccN3po+tj
xNj35NxUupc81mVBDvhoUsDSfs7QxXMV7NMoOnolOa927DbbjP7eIUkXN1fSKJpDzU/S5xDIIDOx
nKo5VjSYGvNg0iEH500amupGQqG1dAlUDPi5WeeZqhbLPHcHu5T8uz64achkIiqx+8UiN96YozH4
AYNTkfUkhKW4fzo48lnjod+JyOBCuFgFosWakXwvEh1zCmV3Wvr1AjGjA4rbY9NS98FiUgP/D75m
AV3o2o6TrZUeo0H/UqL2P6dtso8cy9u1lXlJdKd60HDibmIxJIBlmp9DC2gjYIza6lNGMk7LHtcc
2UW3zW0eD/dhb9io3Q5D4T4NHfoFz85bLKb6T4XByJoMuZWDepuHdGu6EWomGQKj4fu1z73+Gsj6
xagt2PP6lO+RLLPFfen79KNUZM65Xo0brgfDoPH1Ld8oU/CaoCNsTJG8esF4JPnvSdDs3sDn/9kV
JIIUc5QeYnOEomca5FZi//GIw3CF6AhVxPKV2YemSB+p3eckxdnmbggXv0Opir03kUsYl+0OSWGJ
FPytC4fvI/gIgBPPLchk6lcwaRqCU1T/TIhdsskkaWRNdJm08S6X9jsx0C0hYIAPsdD0JEdWJBsU
zoAxTv8YIkyJ2D4+XJEfk6jXKco5C/eRr58CYUMpc74lGJ7dgxsl+zTMNkhGwOgmZgDyNiOMIilp
hRk5UFzWR/7Yqfdy2LmocXdx1x+GpEPyVdUNxlt1dJmq0kPqddfU0N0d+Em1KZUJEywXPzFQoS1Q
WJEqErELU9sUTf/eNdDkda/kd5GAK47QEjQ9rP7vvUPTPCgT50gdqkRuDQPLvA0btWQnEIo8Te6G
NAW7RSrnZRiFZi16Na3rnAW3I4A1PxoADptB92oaCdIWrI71YF0627ZvRR5d8TnlZMqb/Z6QIvo9
fGxx1qLiC4lk6CgPwxwpHwh5ODILVzSTcYQ5ytjhDv9KqE65qdDPkkkgcz9i0bgZSLjAap6Qc0v4
WUON3YjGN9QDS8BZsmma9AWTxciaUf6SxX0ILXdrFhNYKnNiKHyxE3lp3soofsYv9NZ6qjqPOOq2
Yu6TE9vVW8K2kSuE0R0oH1C5Ij9Y5V2Wi3t3rlsfknW177VxN3ttsQ3bUJwwHjUbJJD7rjee2yoq
8NszL1NAeDQ149kJGCATVeoPiEu6Q51jxjJCRPcFEZlZR5R0DwOuazHRRgVx8+hVNggI9cPcNvcL
OljCzeMLMd8oPbsfC51iNR9Z5iCORn6BdY2EL+EgyMnD6FQUpbVo7NH7b1E1JHes/Npt6DjPZVJf
ujy6d1TVXPCNvi/hMshB8HootYV1hloYFfsYxe7Oxnu4CYSeo7MMfgjca93M+6jF1UJQA7jNPLYk
0zSZ71WsYHv5KOjfW2F8O9OyBRkJSCFyADA2oP+I5EYak7+nxVDsERkP5Cz3yP8bNFiW+4Z6BziN
ZAloeM2dPtVwB/HQ94ZziF3SIK0i/MWegyq+GXbe11rLH70y7DfCVBMl4RIQ0XnIiwP2+xTBvVow
KzqKYWnsy254ZJfLRM2vDuARI5zlUvZEHzWaob6VYnpis/eFhPLkZkCvMpCckmn5yGjuXaNlGzJn
j1C0CZPWe1+AxALkVuLWRlqvkVJSEhfXxC1wrrrstroDe4zE+vLB62tqza7YzSGpOjOK7S2UJBr8
PmlUOO5rhz2f9k0jPALNyVhj/iJJtkhcqFNTfh8qz7lD6z62hfed4QhRLYv5PYkQ3i7tRnFLp5qu
un4m1xZ9rAhHZtqcUIpU0YGBbzRZeIPl9Fia03jvGHq20zVR+9TA1bZTJfgQKpNH047jveiOMqT0
leM8WyjAJL+BYmBO8vUu/1HE5k+FrHiTOsRehiytNkOqj3fDOOyS4SlnSXiQRWnv7LQ7lYMebYtc
zEeDoYEB0dMfhna8oeEq72bXOpGG67vp4O1YJmlbq0/QWQTMfVZzm5iwAHL+7KboKVB6DsJE4Dfq
0KPBiZVZ44Wu44Nh1/RzU3SDxAnZZBptW6ls1MQoOEzx3tlZuZ9TRmWFedi3muAmhpHGQiv6UM01
zsU+Y35lGRkAEC8fDfuL4wnxFCDiG8Kh2cMiLlHe+1ZVvTY9hfOulS+mZHEP2vMhC62v5Hqi29Mf
hGsTRlvlLYqiGb5lg9BGL2a68LiexgyksM47PkUkbYogxIRXgh0YL32XAEfAhLczx8fOHnTwUpib
nfEM44N8nkzetzQ6aXpDLs7dycf+RFwOHsqtFmDi0+v5BYo3+wLk/RC9FsctAtRBa753IZ05UUIX
BrDHEoa+GBFYWUdiTj4x2wxt+jRlNfoplf00cgddMenP7MfcxhcKIUBRScp2v2SUtfvKAhrZJh2C
b+9Y1KiEa6hImwTC+VEEJLHB1i13qRfv2OUQetmhfjeyawpMfJOi1dnCLmNuMO70jklrNJMdOW+x
nyicnMS3f+8Y+7cgf+dDlNivdRt3DHguSAW0CKLu3uyxfSIg8cGsqKpXMzUGUUdbCBKQtUk3msa3
Cds/07T3tc+AJOhAHOeysjfdTFh3HE0Z3+xhRyHt4riEqdJioqRPAShzsTrX2vIq5Sa04rugPDi9
fhiarD8jjVbq3SIRdNODxt5Y8mWIh496ZlayRmtvh/0vE9pgliwfoF2e+MzYtpn5Ns1qGHFe8exC
W99MmfcVKdGhdPpfXTY+yyg8EWp1YFn/FiQRcBaPxXLu2Y/gNq6Rhj04xvGQau25tbpDXliTj7Le
gshBVBk/yGI0ld8b47UIh3MRBEBWnDc5Q4wqh9DbzSV5Gwpt9Asxjg2B4oW46XQJqNGuxktr3tIa
ClHrw7rCbvusJ5htZzhYfGSGPyEaY+9CJcjSyEXftYzCHuUave1eZqLdb9mlSOJZsYTylpWQlzc5
euMpan/Qt/2Iunm5icIjUJCNZZvPjBI/K5pn+zIzDqIPK34Ykdy0HqN2YLk+8zNh6VrPJBq6fkxn
HZ0IrQUPDSFpHS92qPd7PGih+8ivZ7DKhF1KUIMboKGXKpxcSPiczHotpsXXTKBY0ji+p96d2qLo
x3eycTAKjLSrN6p3qI/MytcExcSmLj6iucIwEE0kJ07vIm/ltlpoKcAtN4A28iNsyW5Tw8WstG9d
OCJjdpxb1ghfjdb4UhN0a+TagyvUnRfzKWVxSCk1I2bOmw9Vy/zERr7q8OACDH2Gaic2ZeHtjTBx
z9HUYs/QInbIUXjvyQJFThax7sPCs+2IC9j1HuEiClMO7nkb46pEYORSKYVXKiSr927MeUMCpkgT
wMeA5wN3Jr2baKrkRp9Ih1Ck09wkVBiUBWAUs8mbUTWvLprLbIanh2s12qRD/DKJNzwor2EGr69t
cGbmE7NzC+ysF82tcDEwgfqRo32VBCZcSsWsbJJqjpwCUah+ofqUoDiGcJA2sE57gmrNrntWkxVc
6+GMjot5WMr3ojPrTdL13V5jG8/Z8DgB3hC47Hb4jD68mv60VunnwMnDPZSaEEhPylrTGIjkmiAW
Zq2gkohjPNWKYt9Zj2OhPXfDhxdR9bbF82BV3TZ13e9LTpNjM8sZPQ7MwjkGKbtF+kRkNDECOCGP
X6cxaRs6btrSubVKvVoISYuIHyJYx0q1ik1WDsTojUWptoIgMKIJoV24zX2k0RSsEpPhIb73ohL6
r/4uwqA+gLhCMCoY+XjOsDKKXUXPXLAcrT39uuxRSboPNiIQFT9IXtKoj1+7rtY2ti72sYbgLwwt
lt82+u/SvVetrnbakPowlMsdKJZn2AwfbVZ8LJoSK1N3AGrFhp1KwGeMKu0lIkXOl8rdJiplda59
WwSum66xpqsD7z/N7i34cSeinoi8Y93ZzwSeycq46o323EyCLvEi/e8DfSNesoU9xVaAwXjOfdFG
P5aMkn2VHEd29xi9yycmzatRzg9OyNeTqIjlcxLwLrZDb/AaU97AvpI162i+LXq0EH6U3IUA9Xvd
ezQG8VrES64u8hfDPpWxHRO6CB2HAjRMiWtiITFIgxx9Y3RPPQ6Z7ZDcOyRNSmQWVTM82VP8pPr5
cRzVQ6imk0KT3zbZvq5vrUS+FryEoMfxUv3APrAJB+2+IdG2MQCfK9Inc4SUy8Z07hBCezML2lDc
Ybh7k4HxTCaxID8Pi1xcfcSRUyOYrs591rp7S3t2velYWjpxL57YIIkloAtcLsQk+7s59w+STwsy
zW5kORiZX9x5fgLrA57mlaYCKWMJX8iVy53tCVHAOWLmmJ5BTcC6WZxO32fH+U7CGyUEcdVF9tE1
3nej697z/H1okCjnNDgyPXimjfSA4nmb2fmH5MmmMx4vogBTq3jKAc5uqVgSdZtDreH7fGiS7jVn
gY1VkCEprqZkY7TFG3ylUw2XKFe0iMyUQsF4MifE/rL8YlnADhv9qyOaL4OT7SNCyHyovA8uzp8t
Oo6PxE0evPBlAIsgG+0mauNTp6c/SqJ9XoHMw2ADZjL3zlYP0UbXfZXBdSfzWorqq6buy1m9Jm3z
KwtvjaZGylTC5w1b91ogVS266C4QCBbgzzu99WEJpJ6huRSrJASrXhZbemhUkVhpk8RJxN05aL8a
ZkMc97d6DLVT1k4PWsBW0CETHioJxPlVpfbfgr7/UtBHlfM/FfTVv8K/x5tJc/0vf4k3M2EWEz3p
2mj6zL/I+aT5h2WTwOPowmb4W+Ki/pTzmfYf0uY2BIBSOpbh8Rz+lPOZ4g+KPabjGK5tOriEvX/7
X//zb7k/zT8u/4+8y+6J5W6bf/834dk8gb+EO1i6ZRK+hdzQQmBuufqap/KXaJik6eZk6Dx1nwff
Xb3CWr70tO0Un2QzTMcpxf1bdC+RUQVnCtUt9fuEmCr1M9Qj8mwIuN56C2bz8+AWfX4OYuNmtDFY
pKNx/0kArmm3tlVBfctB9b8ERtL6QrW6x51/TcNO0qPkUDgQrTClSCTS6Ef6ujrZQhQ7/FkDWGrb
Ptjj7G6yMEJulMC5LZssOXZGfwkM80ecasE9+ANaIIb3krsxcghILwu1mpDoOhym+66q1EPiZqeA
JaMYXSJGmgwcU1KfGFLelR2dwUxql9BEblMtPOJKuBTL1q5SveAe17NulYjI8aUcqDFVBWa9Pi8P
VmrdJr2e0FGJcxrUFFfH4IceGfZ5TAl8L0ospCqzaWfi7abSo6AIB90+FxSU8D9YF68fDRrFb0MG
YokUHt2vSUbfhrwaLT5bi2rAWA6UtorfF9czkedPY0I9NFg+gzy0tWOLc7QnD/6SQM0kOR6jUt4L
/7Ph5VHAOrK2BNqwWJ7XF6fzaBuN/c6uH1q1oyzwNBjxzYpnnya55Mm5ciPrxDkTBWL5rMDv2Ln6
QjP3yaKgENAONnooUx92Lomqvd43dA3thqAryOaLWki19ikM3IZSeQ7EW7TUDKzOhmo4OPUlmEm3
cUhP4kN29zILHTypvTgZ3l/f+n98Ep+fTqEgkmt192GYpC2wkj/SyEVM5Y7lbmVmrwc0SfXOLaxf
2F3RzHRDcw5tBHAry9tefgyfVO/1bMV9yxQ2vzlZe4OHP6+H9QX94yK9nuqMONPc1lIsSbqoKBDj
IwD4fTqP8n5I2W8rIV/NpffwCR7/vEheOTc4tXl0kZCuHzxzxp+f+Xrx88uwnsGho99hUXJaf5Hr
jxF+BTvaaNEfrVeu3w7UCd+MjALk2l5d37rPw+d1RoQAPYnPw0J3DheLQrrqI4yFRiqWw3pLSvCE
75Zwh9QiMkj+dRgXscD6O89WuUEDhZ+yQKR2Ek/muTaWYHWxdOH/cjlN9vbUPpgNotedu/SMI1r5
bInTN9za3bntC5Remkt4aAJB2HAFGOHlsF5cD9JDU4VdT9uwfYoRbVCwh3GZJ8DNWsNHKYkAVmLS
36waZFDpnKJxyg/5COl7CL66+OW6Quq+ozoN8IzxRCwUoIJV37c+KXPXKpWe9eXHtl4hlpFwPRj/
Olsveg1bIK/WD1AT8vO0/AfyieWBDf2VCQJmey5OSUu6kp3RStN0LQRJgeknWpw/OvCQs0eQxH42
x28qgzCvtCg6m/Mz72wiWC2gNAAm3Z/7yOvOEz/4fRBZNJ3a8FI75pMbG9l+fYrVMmRF5MiwEIam
Mi5N//WGXsVZ9Q0maHWaiJMWt2KIn6apnflF4+BM5ofGq8gmHgCcEGh0G8/jOzwR8A0aLFG9v1Eh
LvtlpsODFPxUnkhPVAjFvgIFIoP6S+rqipCS7kU3q6PnDkSM595bVpIfNg/Zg7cn8CA9q0y/wSeW
7vOKe1SqpVxfzLAeY9yEExQ518kP7ji+jhC0xYhR0Sy8kwHrBx0RXo+xnFnTLV+FcbwzavqiotNf
g4kFViEytpldd6tkEe6L2E0Qm3Y0gnrVHEJeHYvj0tzVkx36ObqnJMpvUiI6GCJ6dWOSlILSLLPC
jCQZa0vRYb6w90T7a6rT1MqrqMYvLgx8NvIBetX/zd6ZLTeOZNn2V671O9oww/FwXzgPIkUxGJIi
XmCSIoR5hmP6+rucWV2ZGZU38we6zJJFKkziBDiOn7P32jkJCAPImvUkub45YtzVznCckwHJi0CM
SsBze/TT6XlsGM5OiUbLMCp+4K2H5CPkh4Yi6kCQg7e2BKbqsQV7XfckqWjwNvz+a8z2flslkCQS
0e3Daeg38YgZusqmYcnm+9EiH/zotU6+L8iUWySI0bOZFlmeu2uHJAo2wwnzfrtDpFIetca3ELDV
6BLGtt62Utl72qBbO7EkAGZ4LEN0s44NFc+y0RM25EJSHyfL3okZcFhsvLNEGKzhpbVsbMvaWJZU
dI70JzA6fRv6Eyal6TFr3OGW2Za5Jo0MkYLlrccSvoxOtMkENmHlGyad2iTAZ1PxR6c2u3QzwAO+
+PFoFql2HqeIXw5/RHj5ziLDA1QHFc2kIP86gmhdpx4IGuQS38ukCqnLtUNhzfUicrvwMpG2YnVC
38zMeTStIbgLURkbJ6aiMu+dRe+k4xc06S2eIjmtQmZWnpDGSVROBQC/DbmK6PV7hixnMRu8rtiS
GdiIATy7IApKLCPIWT5paeBg4EXie9bjH2lIpNOAsmERedqJOcLSAHJD/orgEj1yAvVF9I3GXAX3
E65cX9XGHs/xxE4KPmnqQjKS0w8PMg3NBkNb46lo7fmHUVgXLw+eiso7pRmfqauX35l3fkPhhhvc
Pw1lfrA9zls88SiZkpBYx0jszMyjKc6piiejW0VRRAcQoFybG85XGGbaZirpgMCg3rtF9TWd2O44
kFJIUNi4oMhWmZ5szCSpV0OEKEza0XPp+h+ZmXA50ZFVC93RznO3lniXt97kck4asNuY2RI+HYFt
k5O8+Eof0Ptwdox++AiRDy9SYmugMSKs6faRa7wMeMtWlWZ/Y9d+GPClIFv82sXZDEPN/kwbz3kq
mlszgdbxw3HtESu7b1IXIa1dAAAqe15uEuzgIhK55qT5uhK7RjNHTIX+F17oJY7JPWiRJZwSFbU+
hfs2d38mk/U6V6GCmukPlh6Ita33zTK0qlUc2WdpUFsyqfMB8kht0eS6dsqDoQWyEh8JzfusSub4
Ta9HmzJz4VYZWrGw6MzQVqzX7ELfRyd4TDS/3ox6fYqDGYJoH7nLMTUeOjmerYmhvCzSJyix10bP
0mXbdzechlYbPTK1b46Rmy8aL6ef6MCAHlKCAFIDqRc7YNycYoDN32H5I3fSWNcVbbR+bIF4zcT+
PEJ0mFR7JgIliGfGbbOtlUrthDnxzXG+wx4Kjk1QF3BjBi5FnPVdTfs9J/Jn8ChldBs1jUHlXbTv
dPkzsjq0t7kglEgCmw1jKvGZJm6G4Njw/JdIIP+WMfpSuMa0AAe5k5V+1MaUVqbtk9it1T8Kxox7
PgiyQ5JHSC0Lv9KaywyLJtMIBEscGu74UGZwCDikyUpJifseynFaWVnoH/oRw71ViYXJFfs4gSVm
eZJnrqUh+LZLg96C4QTISbMw+WCneTm4kKPoS5Q7L07Y5uj9OkVpGKjUELr5tHkcVZ/cH9/vhSn/
cn84ED7SqhQSobYv9xtqU7Qj/37IJbHYYCx5Hu+ZJjm+3z4vnIWuEk8SVUTdbwZVG/3ysFS5KeF4
KFSOiqUSVWqiVSyr0RE6wdpshjY+epKBTVUzAbxLp6s+JIxAJbUw0262EeEtsM2+WiVpLprKdanp
li1qZqAbSejLXfwdK634XSV+v0nuMTFCJcYUfEu5ypAhCzBZma0arSjrQ6FiZjJ1YzDQ2sYE0TQ2
QTW0FN9SlVFjkRwQq9Sa+48bgmxCj0SbXHfBnRED6qqgG/YYGC50p1s5KgtH0xFYCuJxJpWTQxAq
c0IjJj2n1w/SGMjV+fdNp2J2zDBHiGb52Fb+Rzl9F03nFf05n+zYRUgg4m+C6c52Jh2OHY+BCU2b
NFdpmmhq87u89n73Lre9y3LvD42EWhMDgqrsB/gqTE7VXdYuhB86haEcttlYzuep1Y9BbBtfHKt8
Zvzc77iK0Kkc9fAU9sqJnNs3OwyWiSUuWl5ycJeG9sjE/4eMrHSrLGRMIWW5ERWqtUClRQl1ExAg
NWeEimUO2UDakOtro2F/NEcIlojUMH5DF8UF5ZPhfsThBGdk6iuc155DcAiHSBSDNgPG7T4a/bQL
CuqFQoVdqdQrcOGHLCIHq1CJWL3Kxko1sjlwkZOX1ZhvI1sub2jLK8PMvPqiARjMtebF6JLw5goN
glAVOyt249rCBn76tUeTfXCZP+BT+ZxwM5w6owPrqUK8UhXnpatgL9vB4wTclMQvles2uA71p16i
EkgglU8ZY8xIhePFRsFZSej4Kgb/CvUSRzqRZk8jZncCDM58EQzpMie52MZPWmnp2a5BsGCKR5ni
rqwiUYFlGWKKGSF63nrlpvWnelFX8fSYzNGwMVzsz6khV205jk+5JIwFJNmpH3L2/xwwNGAZxVRE
DSylN651fcawFMLRg+u2CmBbnH2Vukb8VQuTped6PsbYpl3sDfrQ/HTA/4d+GGy9ZVfPHaYrZKHj
ZF/aWJRHKxsQHKrot7zlpaswOFvFwjEkO7jU9zi8iYxjVdi3KkRuUnFyjgqWc0mYq02sZImJp0gb
go3WR/a6rEFDTnHPWW5Ml8H3Xj1hXyIG55B9RrAujvOUjIRlAyh7ayC9kbxrXbqphjdhV8vCK2BQ
6xZRc5LpN1a1bUkIKJowXT5ZOpOdyRmZnQbzlvLh3BsFQEJS9ybS9woVwzepQL7BGqD+paxUCSfX
UlpG/QiExCXGDyn+AxYx+5yY2lFHRrmzyfzrLMuFbpZh1hBJcjYFU5CCTPGntA6LXc9FeuCGXfP0
4I3mQaeiWPf0t5YzyI19Q+ygih8Ej1kvMsxcq0gSTihVTGF0DyzkHZHP3XocXMQZRirYENBl/BhT
wRcsM9t2hlTAaJB3iuWMMQjJGDQddpK0xFLFJs5p9wA6VEuDJ9QT15ouza5TQYt1iB9ekL1oqxDG
gjyzBd/b2lABjSZJjZGKbCSFEHpbToqj0T7RZx4eGpXyeL/HFgXogZboK9dtim3GjhoaXlKx7yEY
cGAEza4PAnqYMa28kguLqiQgWrL36QFpJXGTXIwMuPnoc1UUJSodxC2uN2ySaR0kQ7/Waybgpusf
7Lx2v6SpjK7IJhYvdQravyuVE03fpmqPo4XJo/Qfx27QacD3X6Mx0K968U12nF8krm3qPtfPvVsG
a1bXdFk07wa6U2DqmFMKX8dbaubwplWQttmDrB8HI3tsEX09igrHX9a+D3qo1MJWs486L7xVc3hA
9iv2dcOfyJLyx2AQZyDcJfpdhk9Nh34OPsJZx5OeIHBbRMqmXuJXB95oPfjKwu5LrHmJ4fCtErSx
ptchd+AvfsgK87tUNngdP3zaYIx3cMhLZZU3lGkeTsDtvtC2c3sNkSbsNWWxN5TZXkxYQLxgPnRF
s9SVId++W/OVSZ/sjoutbPuQAjeWMvJHOPq5Gn1rlcW/wOvvKdN/jPs/UhgAqYAAjkIDTAoSgFZe
W0zZSLaX539locn2BjBQtsAf4AGy06RwA50LeCBQCII9UdOI4RSYoBzMgykiuclEW1GtCMj+rJEc
Ma+pAhvgF0Q4CuogVtCDROEP6Bq7KC5xPmluimopwmVYwUsY50FeVTd13GUKp9DBVejgK3BO4UxQ
yAXkbeoYLrdh8W4PQBkkdAZE/8ZhNN4pMYZdqgAOWGvAniikgwvcoVCYBwB5SzIExy1GPzAK3s+E
sv2rTXUvFSSCeaKLBRWeNfgIAtfeEgWUAMHNyaMgEzaDPS4rgCfSU64oFApH0SswBeV1j9sbWEWs
sBWaDiBLmP5nO0PSLdyuo9RFce65Drw0LRCLgACXtTSKW20B7Z8nDcrPgFx0NAVTKKSSY0zYRmtS
wM4u1fzdYlMPjQV/0jzfSzGmoDN6Tagc+IKeO8XpiBSxwwfdUbNO24rl4SiqByTSASofpA8uZQ9M
DsMHZxiPqaKBwN5cdR19a0eRQtwZHaFih5hARFJFEwll9jE2kw+dpr96SG8y1+yOlmYf/UR2h+ie
xjk3Cw+85l44SXCTulQaxDd7mKPjkCEAqSaV8J3i3+3nChakb5/8fKKoRxHcg4Rc6QbJWp5/LPSy
OTHsBlrrUfgG/cYR/fQlRHiWtsmwoxUFARwh57psA9R5cRadM4fa27PndOOzfa1jfdEYpLXLKv9s
dFxkSFuHN6eprnFa5WunJmkqdgOUnmNwm6eUaBhDS4iATqKTz7B6TbbHAyKYYK17WrSfKX/QDfjs
Ws0v7KQ++1kfH7wWQTI7xnZZluan35m0TUxolXOxJlYnXgG3srlmlLikOhod0iSBo7LjESyvRkAq
ki14BcVX9GLjo7SCR9d+65JEvtjAcgjHzJpFJ9oPkWaRsWCVPJOLRieqcJxj0U4bS7f7p7pBh6yh
R2KFsYMtSB9oV1VDk7M1rgUXurDO/Yewj16mzKdGrJUTXePGC6AM5TrK4N6GAMV1Rk1OU66HY1au
I3QxDPoy7SF0FE/db0mVM4ZdZSDOL9QBazXmKrVJL3GrEWpxq23TonrVySx6KIckOnq8+pEsgSXK
LxN3UmXssjl4y8Oq+jpxIsY988HI8cerVg/budLCL0lQ7MBVcYwVzD+MBEHSDJ156whMj34nV0M+
2KuMre0610Nn2XGhWUcIzhlZ2OEiZcS9G/yiP0ZwrNVlXlsFIK7IYuJZGGNijge0z2pJMS8Ys6dQ
xOiuO8bNYpy9cscW4BrDGrYPNfKq5Fq6AE4LnnQp+tZElkKFmtblWZCEkDXOsUkb4O11lu27NHsy
NHy//sAX4PnkpAwhwi1m0VwA2GIvwcTJPXkWBGNHhLGMxnawQTUwjAcsOhTdxm57uAPRmDAKIiun
c8sPLMkjvQbRbQPNCc6uT0siq42QIHa6VUPIJzKjB45nQevY7CFCljDYk7JpYLQAsPMGDb5MoRXb
+wdtkKZqqSBuDaStawX60auog9meIcUBkQrCN6nFroNYEMRe82ToJsEtFcvt4NDq+q7Zisskypue
kRDlhJZ2SEJkspPZnUpSEHpCWFhl0TwHI2kTCNxmc0OtTIO0TV/tesQSkc/WQwDtd1tP+XtH8g1S
Et/bgXvM6EcWTE6s4iF2KS4C2qvwEprkqNSphlZptL6ZWO5TRHR7BoVHv0weuSaHR9EF2cnNbTRK
aXnu9G5j8c621RizMXTCKwBj71Qg3YiH1xjCLQmTwOmI5aoJkOncA7nAbNJK7eok8C/vN6LpE/5c
A0XOsvNHp6rgdAzQGUVICUkOUrONB887oXEsTrxtIWPt0SZxwHGwNwbqUecl30aOhyOb+p4GPmvB
YLkvuacVZ+wUJWJH84qjrjkmcUdMJXvWtZeO68qchmuhbkYfDH0hr37PTrUYkwaw1XPl+fJoO6jC
2DxAifJQLcxAZulFJfVxjo1kX/rpsCoyA8C8Nn5BlMWxPqHxi6FxbQ3bwA3CF7eM2srbazIRYK7s
TeUwsOwVQDYW1K4+a9eylgHpIfn8iEXF2JXl+A4sNt6ZfKnnIqyXWj7FJz+UYoke2+Cvyo9hdOwn
wBgrss31L31QkXugnzV0b2f2vPtZ99jUoVbHzUNxnpEJ5bQwDUW2aSqUgkUrH2kQ1scB8Qj9bTs9
ugVlo0PjNpsQ1otmhfCAiwFb00VWpasidcjeyVmEc1R6Jx9CakLH6SKAT4NfaVLKzAfZFPXJo3UY
Oxjdssq6DY55rJqavJuEhLBQINgz647hSU3kejr1j7MX9oeMdmCb+mCxfLKr8BnRp8EiPdhoVxPm
q62BT5gBpg9vU9JkhqO06JA6r42ysNbKCsv64XNe9xjZk+annrj11i/EezR5h6EllqDssJUNSSsR
3NZy7TTzubGIlJnRWS0jmtOLivnwdhrHbmuT3rRI2DZthtxSDTfYTrEGMqxGMhqZoYTO1TzcQW6W
x7x5nrxqO+XIMmFJRkcn6666kNWyLzte60iZXgl5u/PvaODeQoNrCeIeZr0xemZXentPmRTqau8q
3fKd3BZLdm8TUsjcobdrzHXDdQ17WVeLJ/xzELUcfAzA6W38teQlFxLBIoTEn1Y4Aq2rvXWoO+Uu
Toq1paghrWxfoI9/QyPXLYNpeJMEfoxiTNb39yFFjYl49l6GqOAAjkPiWAz5NRK9XBNKAFihe5yD
Z3e0Q9T/9cwS6NIghk7MGAxMadnZtyo9GrYOj83hujM0dr7RHPnbjO8+7bsP/36f+/3+szCQt6gu
ig3dXJq9ueol3WOMZVtCZWc0WpKyPQu8tAyfipXmy4yVALPMHRRhFHq+hFWNBuH+OGnbJUMrotIU
HmAC+bawXBgtxhBRvtv2eECwnkHtjCGj6OFTiMps0UVJvLrP7Ts1xqeGGnYIbtGAx0gT9PwttwTQ
cV3b+c0jdK1sGyoP8KB4Cnrme4sghIDeusZwCM0CWKWlVEYJrrn7TZQl56Aj6EejVXNoJ+Ad9sjB
DWESQHHasFN2zCdOlmbRu/WzMw8me5YYvdg9NDDJjHDJ0D9f6b6gjeECKztOnCFelE77zJIjTegZ
/qzifHgkHB38u8BtxmZFH/QrKffVIkxQxvpgcxaBYoLEER5VtiDgLtQ7ud/46lfvQdG//0yzzGST
TuXXX+bQAYF6u5TdiKOIAfd3fr9XVtjQf394v+dVU7JqLCZJbA+pghXJ4n5P/Pve/WGkPjD4f7e5
q89RnQMOrEb4CWGfrScnwnWobvyiYItvaQCHgJsf7jcOV6/9jDNDKHf1DAwLo7y6W2ET+u3m/nA2
KUaTpPQXdk7wm0inI3FUOnUAH4Z6bbhrOfpIckGGQUQwIoWU1ZmuOkNjphUUvInVsO8T0bat9Fdj
sjRcVTRN7+HZ6b1fSg3SHnzPeYYmEW0aJsuH3BzhuKh7qboXFZkDgyJ5vP+IQeK4j7znTr2dMk7+
ddPdeS49dr9edYTvcpnQFYe8nAq6bxBvZ7d+7wVNswJh9iLDw4Lt7X9uwHA+SNNotn2Uohpx+ph9
leoIMxw01r6VpDuN8DBDdTLj0b7YIjU2/ysQK+hOTf8kEAO1hqLq/098u0blj5//Z99mb8WPP1Hf
fvvFf8nEPOO/SZmjX2uBnDQF+LN/U9/4J+Hbtu4zKnGF5/wuEjP/m98AAwfzzbV11+SffheJGbaj
G2xJDX78iyDs7wRiaA3+rA+zBf9j52PxGnhdlmf+GfdWN6Fsct+n6eiBH8LZ9x1WoUtvUnQmsX7l
BeEkVHar6RlmAnIb/BGXSpHsG+wmjBu8c7KUYX4RdX8TJRNz03ml5gPrFT+IVlk5iTZI07c8SE9e
qW8GDSpycopyeqDl2XLip7ogJweYypLN9bZnauP7NJNJ2xRbGjZXKF3iYFRP3WBvaNOnlOoDhIIg
3IU5VEsdpFInSlpiVpYviZ8aFpnUn+V88hqBiGTEiFtrNkh7kn60BKqMTnZSbzifkOuPhYYzNUJZ
GenPWuKeSSSe6S3DbFIb0ARleNmjiVXBosmEpUe03rnKevAho3FJs2wHlvFHj6S7IXADdyRDYre1
d76Vn1QPIoUFzKxoWzfy1tEGAXG/8r385zBNbOMaCADhz8lZeWx3GV/CKZWktsbaF4/LHJCJ/gTU
GbQtn6Y3aqui6J8YsJ5AsJ5KErrh3vMr1cqu6XQheosb76zF+jGmx8yA+gIp/jnSnJ0FvJtaacGl
qMmN50Zj9J026IImPNvsrbr408Ck5GvxS9BO15gax0RcItNwDXAiaNdeKc4eCPV8TE9umrwZznyc
Bt5mWpwGo79GerA3w72fsiuL5QaX0UlO88UmqSehDeU3KbD8+NAkQJfm5ETuDkdFfKoMTPZ4eJHU
dzalJkJ3Mxu2DjEfOEnPA06h0nNf66ndeNp00WegpNOLns3pwrejT8ZLaJDd8jg60T5wjWNQ27uh
CNcTNQMxu1C5EQ7t0D4eaHtw/RyNFepqdODWa9qjNHKyh3BY+3T/qsjZVV10SApUbGZ40Jv0pL5h
IxieZcsIZU7f7TT7dMLos+7Gq/oYK21+rgUHtT3fjHrbpPrHpEuatZAA9XE7KcwdcomsSPd1Krms
D1e/aBjwlYhEiEzCAEszwfLpvg2XcXZ3cooPucWY1zmXs3M2Iz7Bajwakb0Lw+lIFO+nUBk7Oors
eERQYZMR6WCi4pica0ehyZc2VKPAGT9EZZ6EWJMceHOjCUi6/cpU6jAPxtKq0lNTJ2/355hkij7K
YnpRK215tpR1+Bm0wlUJ99twzN48fQST3q5V+Ao25lXaL6ntTmU3XXrEmrEevzoy+WxSEhgBSeW4
inVkPOAJkG2Bw57iXVDCFWnQwSC2ziGkj8l8ief0lA64sxKOVa35QkZSn5CwWvdXO5O3RssZ2bAc
iPcxmp/9WV7pzZTheDX5Sho3e2v7b/6EyWiYn716flbfoNSno5aleF3zN/XBqOPRCIerFw+01udn
0nxXPQ6Bnlg69ZaAm6OPaogTtXcUbMWCeviCIuHSmcMWBZE55vvQavh7DYPs9JAyy04E0QSD89qO
7Rq8xw5CwrtvADNgTaAn+EVq0Uod24oJrV5bFrKWDQz3Y2OEzWhuk6Q4JTFLAZ3no0tA6Bxwrstc
Ms3KPkcbCn38OmCoN+LxZhp00TmYYL9tYNU9Bx1O5/yZOeLW6r3XscJmgYELxdW+1fwvYUWgI/mV
WtJsSkuyTM8XrxkvkTPect1ZdcW6yseLJqdnLxm2osAGE5Txmwi1FwYQTw/t6JztRv+IMNPHQbjq
zTBeWrp7trzxw3eCrwVGeJ901q6YjpgLCGsZmJ7F624CQI5Peo0g7xIM5YNV9it3MDb0Onb1nCob
DfMw6CS1fsG1CVCMuw7ssfloveP4fyJg89A11q42s1Ne89pHTo8p4pDgk3ZV1M731moepZyPftXd
EEthj4QXFozHmRNB/afF8aaEW2pxeI3wTJzQONaO/GiD8TIqyJktbzUNk0ViV9sgQm5IkLxarGLw
EGh9ZMEGOjsgVrypBZteyiqkZeJzZeuS+Zk5wltX11/N4Bkn3I19Af5ze/wwo59t7DPTdxlrpCe1
Jui+d6YE3qiTqDU5xwwDa3IfilcpqxovA1ca336tpbPjmhgter27ujbnPAvVIu0v+A/eOp4jK1jd
2MRHI01/miGcamQ++APnR/TQRGf1XLnpne9nnDHizEf0FGj2907TMK0Hyi0bPfYx0lg3UbijSZlC
6GaGUNcOo4ajCFgebk4G2YzsX0RSv2GwZLCSGB8Jmcj7mom71wXVA1qvEU6Ce0hYYh9w/rHxmhi/
Y8WyUs9lcN99zeJ52iV9u6Ih2GL1TF8R6V185Chkx+fHzmi/U+wTjhaIbk00Exc9JFAF19lOWxYk
lNCVM+Z9pt/GIeoPhpLS3blR93v3n01zPG2HvAM25D7FUWJu7ii5nFn94X7vfqPZzb8eolPjZS/0
Ar2DL6jmx4k9ku+FLxDpx1VvdQ/YVYODDpsWKUoWLBGux9bSb2ZGAupmUDDMPLG7TTA7Lwa91XmS
wSEQbHPL7CWKzXYNHHo4CMzc+7xPMcD1oLH1+NnwjGg/MSYS0cwSQnpN3bkbQ2jruehX/ZyuCxtq
vmwXXAPADL6K9tNt3E0Kv24qHIIUuxXNAGCLk8dPOrpXyGuYLYPNIRWjPVY0AX67kWxGjry4mViJ
9uxFzbihKMIRB0AnwoCdadGlKO1yTf31LBZ+5rzNjr+LuAqs60i8EXIvMHv14hAX8ns8MgDWkmgN
WmzBNAkftUtqd5nZdA48KDTVoDYuLl50B6NVh54nLDiw58T8yLT00BfOWdgVhAsIEmkjdmU1vcpK
KaQ4zZOGxYNTgLzda+7P15BMLk629QReCNGB+JbpefdIr5o+EuAZZCMsf6NJE3ZKmYBr7tnJh5vZ
TLfULs8Zeas1AQWzE7/FNrPz5mgjWfhDUX8pswmXx5+MFP9ZJvsmrBPXFnfIskEBX/3BRhEnkMyS
gdm89NLPOsXDnd0Y+t4CMZ6x884Q+2vqqNGr1//wzHhB/mjgoED3TSSRuuUwmseLrV7ZH57ZtwdZ
uJNX7ILQuODZLxg1uvts5eJtzih0Yjp5Y0aKnu+eVan0D0//i39EPT2YauHxCnRGRPovT0/PdrTQ
apY7s6OIZ60pom6j1dXW16+pMVxdK35rAZaPT7EDrNhmVaOwjZLpN4vSn6wtf/oGFHf6ty9m/+P/
/pfz2wsRpudStPnq///8OYRW4UeiZeShvnxn7K8OlUmmHQWmqKmiMKBb58FZoQG2lEazLjJ5LYgw
KQyuPhkFq29DGLXXlffy9x+R2qP95yvzXUf3PINYPPsXYnaVQhNOJlHsfMkWSi+OVmQ9aS1GNISf
FKGOu7ZT+X4/vBGAHONs+qASI4zkAiPnTffHDytiAbiXh8KZL+HWdLUXuLLPHZcuoENLd6IMobZz
80mluW9VCeL6kPNBEEacAKpK13E8i2y85lFyELl+mS1n1/BdDKEgCqnGKdxfE9msDfuVGQOQe2cX
CFS1cto2or3W07DLiLSB5EING3PqAsBxm40O0K62mCvn4bMWTh/prL/QPkQmYy09OijCkNeAqWHt
S/588taAEuAatjRtDysqR80i04EkZuz/8nKEKjf0NwauxeLvv4W/OjxsJiyO4Rq6Y/7qczJBouWl
aRc7YlqRTugX6WeHPHu/V9bjs9E1+79/QsP6q+/dNiy1axe4rH4lpfsDdhP+sdiFLs2nLPmSwMZM
rOekHK4tF76NsNO3SaUsz4p3IPsb291DbecHi7o+6529MX+J2mJflFBo+qvvY1c1i0fLUweDTkGa
9dPFIrG3EeYjiSRxhybALXA8Si4dQ/Ewsx6idjyqv0vczAZWg9O7O5sCVO0KMo4EP4L/ZxJQAqAB
vdFzz66KrjegUxWV9d1Fzq4hemN/vwU5eSoQG8XtO1N1ypRUrnzXg35NCI3pVbt4Mt31OMC/QJ6h
5qaQsOl8mhgGmgytlwhOgUAfwV7/w+gkKIP+ZgIEy2X4WKTj8+AFtzgmR5QtGBW49WqSbMWGaJ05
1reG7WiZxW+qaO2qYZs42Tmf2pdGTh+9STlWxGzZo2vd7GMcJjLc93zGcA9OqZ6fImG/miU8zv6Q
29PDqCWfmlntzNAhAFBupip7M4i98nCcWReoLLtocmBUT8e+E69uz+iH7R4Vy3Faa5yu6A3u+6TS
3ZlyZtmNDnXxNJpctHgfMJrPvquk1iUKWLnyjP44CP0jEPbZM2gT/P2R9guR/77y2ShMPAMBiImJ
788r3+xpZQ2Ap9ip7Zva0qGsfTWevaB6UW+ZifKu+IfV9q9WfUen5BQCzYpjqn//w0WnMafYy7DP
7ojEvNotG1Pihf/+XfHi/3Pd9Fzc/ihWDBMvzi9PEkeKa63D5rFFj8zMaWniZPOtGZFPMm5DTbhA
XlVfZ/JuJ9GCJ8GtH6Wfqspu/PmYwFOKLX/tO4bqtOx8zTynbHt60371WAi9IjtgaQM53yzbJHkX
Lk9T9+kJ0fTBhgiqFuI0H59lCNIrYaluGhJqzHldTTmSP3I1PJJw+P5JlH1DpnjsOsRKBPqpfZln
zc+Rb5/TygZdSkkO/8LxrvMw7hw2OupFOtQh8DTPk+XecARyyKx7UX0FcUGxiH8Z5riVnPxB3gzP
eSX97Sjc5FQ01onh1Fprp6PaNnVRfNJnj7iB5oHD4ziHjyKg9dHSLzAbdkl09xZjX74Y0qsXASk+
EpfEQjfjT4fLBcGGpzpOT/2IHQZJe8Y3KTILOgQCZ55Ob1hoesxihStvedus09p7hc29VJsSf0Sw
zWsJAjwdrOA2+7V/Ogz+osDhEPNtwa5It23nlw5kYWLpKKccXkXG5bPI+2VZI/OMO/ZNeJtctOD6
sWRWuTQIt1loYwziBPTyqH0x/WW2wqx+btjmoVA7Sts9S1vA+3t2Suw07NDV1q3vL20+XiMtfGiF
+UA+3zefiTZIS1pyOoPl+GUS6Vti8vc9k490KOTehqoHp+6TeCtGdqx5NS2AnjOfalQVFbglrjJw
zmpVref+AwQscuf2GAfDh8fKD+DjDUr1ya54pkkcNNuh+Bi3Bs0FuneBNl590V8NKVfSGTd5+V1t
Uj28eI02bp2521Q0R1pLjQ6pdui/IB15riP9wgZvRGSB2nSrqrEg7Vchmzm8AmeEEaEhD3bTXnNM
F5NEtEUR5LSqZWG9+jC5XIv/Am8LnvyZSAd0UCGnhBU8VbToOvGeOjC9qq5b/f0X/RerGIWb+p9h
+XS2f/mah7D2sm4ASzIw7G79fmFXHn3NAcE1B7nVjRfbPQRV+A/HF5qg/1xmBOUzV2jDMFF5/7J8
1rYF4s+WxY64+uccPZ66zqEA6TO5HnS+jCw/BUOHjYe9StKvsBjvGgqeaqLxQofT5ESxWgfOjIkc
jpYVRXZKW7PBXqNqMcN9d2mk2CUZtNRLgkapN15UdwNb1mvvt5uhTg5qyRjik9S0bdu7W4RQHk4d
4GFUYfn0EQbumWhLBBySbV+DoDk7Obn+rNbdhIMuKWghFgNeFEKzodEm+YnpPgH0wzWk6KGeKOsZ
gjwXo4JvM7EfXKyVfZeeCjBP0MmvYzYdc491Q53DoZW+qfdszfrzbOjPCWqmGt1bm75rHopFm20f
v5vGkAa9Zm0SXjti3lOFjjeSLcph37JzncE319m5w9nmBK/0A5UrRryqDkXY68xiIy639hmP3adq
h4geBCGV+Y+y9rd9Pp4wBTPN/YRlAnw2P7k2Vcc0zx+I4q2AlYg4YrdQUY14jTgrVVmHU+xtRomP
ef0xjAKX1Y+5cFSTcwSHo2W7S/DBYULlHAn9VGV0YhPvLMf0TU7eWXWtDfp1qts0YaLUJnutmnDs
vT7Um2aqejNT41Jr8f9j77yWG8e2bPsr9wdQAbPhXknQU6REyr8gpJQSG97br+8BZlVndd1zuqPf
+0VBT4oEtllrzjH3qk01LWov8wwfcm70nXkK/PF+vo7mBL0zXthkX7XhXUY5uYMwI+sYoToipDBG
4+bLEcKX2M6j71xZA7L4KJrujHvltokd20dn7H8QqH6dKM7gY7wq+3nUhWh0RxD7nU7rgBSOD4EC
XctaNpvyQwg+lWIyQlN9TbtxOfqRSbjFgYyg17nSlmLUqTh7M9V8ZQo/RAnTB6vLQl6j0kKfxmsl
4zOwvdcokKsc+hYywh+dZKpjNUFo3V7poj2RanvFJcMDV3Ng70MnWM+1tqZJKC+SRJZvWd3ui2Ik
S4YDnqbHvIxEsLUder5PRi9BVUBkGXQpNmBAasjf8qghoinud/Pkk4mGHaR56urOy4IfKvmyi/mA
m6uvEZNqMbB3qHG1IVGhBUF5oba752SiwyOBNHUlg//UwX+l6sxwPNcJp8L//u9HLc2w/9XwYZvo
F02LQeS2ivnbUigZDSiFwoQKb48/spovcup3hv9EnYuCB9a4xbwZddqUYBbUNZyjMSfSXHueD6wa
acUCzRRUUAw8uGuTS4JQex62by9g659lxAK3Cn/m7vgjchRaOsOJyfvqkrikWk4A5SiujtSDiMt+
iBViYNQcrE9IEJDomHMyTLorNcF/MbTj1igLfJ1te5/abNIDXV2oZsGS2ZnusjykzU0VibBrH3tw
Wq01vfwoKlcSg1eoC5uiRpVTC21yapuqUfSLU8YefWlhbhx0yIQAEAnEuxLO8uxiuOy6n2plFCBN
05/z+CInaH1RhApOBWRknSzRHFY6g9M85lwR+J0AJi/ySn6omHOdrn/GhXAZIrFtCgzs2r5DwDzP
4UlI8qNB/hLilLJnqTfPu21yR1zsej7/atu9asa1o6+RROr9/GrzMolkQLbG4T4+I99f5fQE5qMi
tsVpfhGXen9FeXmuDCi0E2jg7+edBkrCRy22EJmPP8aUD0DdPh1xxLnaelsVrILy9qIewxIjtzb2
my4mZy2Dc1zWP5OmfTQs0IRUpRr7r6X//4FZ/oe+u4Gqjnn63/fdrznpZ/9vSTUhCbOPv3fe/3zq
X5135w+Tl6Ibf0OwzE30P+PWHOMPw7Sp6BnU9RzdmRckf8WtmX/oqollW8epInQe9Z+td4OuPCtV
kwHBmsXJAF/+F+133dD/uSxCPaKaqqBqpFqGZvyzvtaGepxVETowTrwAUHxnc6CxEBckrdrDS0Ur
6MJIA0N76DpPCs080lbtoNYuWtNyNqj/3Hwt0OOdICP7AJM9F7XQJle0vUHDzBPS91f+eBqrotoC
rfoRRfRNGGwjFLwK7R0k3AjYGMx6wl+94ASIImLwUVdUIIyn0ce8lQ5YubWpJWHUwjCO/HvTANX1
zICs7aRibhBAqVH3wWVXbYqSZpZFW50k13UxuGuAaKhPzbnrVnLWadoKID6+2kbmK7dC5Zj74R7P
/+BVal8ujSpwN1kRrmKm5DU9L3ql7Lhr0Lt1XSRXhilMZFCdt7T7t6HS5V4ZasVBHeCwlr2zS/E1
bXQ5PFExhFQMGuqomJt2cMJDwR5+iZSsflOMYQCjZ2yCKHKBeocCYdccgMbxsrf67KuKaU1kNDq9
Ltc1ZI2tSaTsnI8LCWglwvo1ycPj2CkSF0G2jUidRvRQGnTr3J3OUUXwiK3tk974rGDMLZ26zHZa
sLNDzXxkE4G9Kyx3mQ6BMEtlegxAebbAp/c47ejiEAs9jB8TCPXUeDLZQOEeQBkf+f3FIBEBFzVT
D5FrDlCpRdDZIbWa9OI3+INjpRZnMrHSXe0GmK4lkBI/sNWD2SoH3NPJXuJ9PEWdiwHOLZ468mDW
RjuW3hRKEyZCDv1NAmiF+e3XFfpNSImwJ/t1hUHuYcq1l6yYyqNa2c9DDmvdMCkVjb5qXzBVYmJU
8iWCgxFbmwUBtUUaDHJCwl7OSU7wzWe/ZY6BUAZaNrhAwjLWZRItnbKQqzLN7lUwpwfDKpnl9DAG
PWpRvo1J7Roa86GyDTzTNRxE16IiAkKtUFwyaV1kKkoCTzHpIsubCtLb4jgnISoODAIAvjT+3QVl
ZftewHdb5MZbkWrFx7gEfJP4XfaA426mEdYdQJfOorFDNSmiSpQVaubldnK2QdpiIi4CjnsLyWE5
3qXSBsjWPQJ6LA5ySC9Opq/CtrkKl4irsZK0fgIJ88c6urVvgPXozW1pG8TioRMvdMSNWhZsMbhV
x3Bg+jAaYewkAukoQd3aOEgl0FfiEzHb+tAo00OZd/F2cmOky18RXe29HarsR9P0Cmj0RBl0fMgD
/yttnZSaHUlHRps5cyxCtpaly+o4tWYNO01Q/Igg6vTBU4qs3yoaJGDdP2jKuz26j2VYlecYo3CE
npQfClc3OaqRc8Rv3EPaqJUF3TR3H1fxk4ryWTHdObU5O6tzyopjtOdBH5JztglOuEMO5EpHh8Fw
FFIa4CWKSMf461C6UepuA4KwX5t5vvcHKA9xR9+pHrA09TCq3KZcu0YmHyv9GUbvMiUMjKWtFp6I
RtKWkQvxQ1Psez+3HhmC7Pu+b8lSNIqFnfnIR/M0X1E0t45zygH4BWPlti0WGFVYm6gEuUSAOwgR
qzwNQWgf84bUicRR+uUY4l9sG2zzwqFNVZQIQMFGeQ4NyyVWAmPFMhjkaOGGfD/6O30Bgdkgdjeq
bL9qWmMBcTwbJUjibWRQ2GhE9W23tE0HMP9eQ2N21UdOeu8RGOAcsEE8JeR4r0MjbhBL5livLITI
+ZhjQQ2U+4mWymoa5Jz65vwUrv9cGTJdFhAiFqFiiU3+gloxPI0OWICo9H0+93Dmq8XuM6aXMvtO
Was8Va02I1hJPGDjqQqCwGbuiYaLa3D6ZRNE3a7S9HSl+AD+elosHqx7nPhMAmRzJJ49fvtFBoWv
hDuFY2haN3X5EpkaUSldZXkkaXnIOl+xemCktAGvAw18ymwV8uVATEht+keY7Rgl1OzH5JT7Ntca
DxLGj1QL0qUe09mtsJnYIwzhPElWhmaTnZZoG2r/YENJFVmGoAF8rUHrG4xrKpWclMi32K6z5zJm
n9KEojoAz7Tmo28HV+7ok9tHIZSBboVUFv2E29fCgG6j3M0mBg4I/3Q4gj5lmCcHAXf3uKqVFxEG
T2MNg9QsXGM3ukQ0j/2nOaTDkjYV5QGrTnegR970YKJmnvgPVbWjOdJd0JrQrTQfHFWEULA1zaOt
juvEikzgWvwTtQgfKokqYBg5NavUCLx2UlZZLO4MfwBTktnuWouDYkk44FIhuXCfaA28a7xDqylB
mq+qd05nTrNvAnJYkalbJ4s+pwlfdU95fjFByGKk2+Sqg6oMf35Qm9kpFeD1mzSd6NhG6Sq1dH1v
485lyo7M1QjZdW9N5coHRYK+CxDMZFQvBhuYrd7gTNSyMFtFffYBNBfjpxvtpik2Fw0OOE83B44S
DrCkpM6Y27W7y4t7y4qCpyFVtukwR94E07aexNdo2/JuiqSB/tdk8Gl+jqmjPWb1FnPmq2b3BfWr
4GUuasAlCFYw5EHFjwS2zv6HEggOYTIRuPU5UlZrqzfHisttmQS952Iv9nxcKUu7tq2Na0/pVdOb
XewrxFwwfs9IaP0eIz4rDUd7cC1rFWVK+EqYaDTU/tbRiUzQqcavRTb4e9MKmpe4A4EZDg91pslX
CC3IFQDVFlFrPjq+8sSwRI1PNi+2BrZGdPXSimP68CH9NpcVDID9XN3GoAq8uGmTK3bTHIA4HP5S
ZcxTSyNdRrL2XwdrfNfHpjlp9Co9NzqSdi4+OpUeXm/3/qEB3OTg1jtI2avgIBr7w5TOq1/4H0Rs
9jt15hLgIcCNFhAmIatJPHZ2hdqBON1GC7q145TBxaR5uKikJBVqTDQwV3CeqE1S1DSHi0i77g4n
SObpk1JsLZSWky+/YXSCL7Wq6EokTos0C7O23xrmOer5PkyRW3j0dMkOVO6KuBc/AQoxNCbHXh+/
KcYcbWkXO3j77HChxU5lEWx6ZO+gXkF3VaRd7BWIrvbYYs7OLnFa4b6Uxd5FsfHoNhzEABW7H0Nu
zXxZZIrkdQFdr3fg31ZJnl/5quhx1SEw64Y2gOVPRMkmFX4n5G5hYFtL7FotP4qJHE0rPXMI5aOF
FZp1VpdOaz3xrY0tEV64afnE3Lu2qiDe2WVIhVY1L21Rk3i78/PKeXd8iu41RNsregsDa8WU3YVz
BUkG5LsmE7kzoQ+aO5BLgVPKKyAUecp84CCHiFZxHigLZea7mJnxM6p7E2exIKEzU+8dfBpT/SJ6
s/oyWvfN14vwVZW+s+wADt/3kQDWZfZrg/KSFeTPA154CigFaUQYFYl9j3JkbZN88+8zI7zz7X74
Dor8IIWc3sbauCq2+Vm7WX4hEpPQh/aO8YgRxDGI4hAlhUMnPGsclouh7ZuN1b+adDoBY7EqzZdu
sconrfr2G35Hu8bi53TiMMlUQWv00/BbeSgRlnmRGs12E+j6Q031ULNjQNuKQJ1LkR2OtR/eW8JL
g1B5dlqBt6cn8hRWxjn38Y+S7fJVOHHs1b02bnN/eCnRgZSFMi7dcXLf4q6680s+fmTb6tYkXGII
xbPv4B2xVf0nAqFhwboHgHwLTs4I4wygQv5lEIgQW3qLH7RDFDSzoHU9fL5FDLL1gPCbdymEK55z
e2I/6/ilgGOSpzyWFfq16JUaCTIOJvZYEbqCWpXPGHBtHFrDF8HFBAzrJHskSH0WvYPVRp19jYXR
7dsA5PntD+PzTqrFg9KAn8uTiXJbuHNsjjgdEXKuwVhhAXY36C2tlwJIBHS8P7PxENIO+7Dr3zTg
EPB88ZMYKl55Giz2cqxW2PnxOwQWxbFOT0lsoFyWjcHkqTbOS855G8rNbL6Ji8KgzBy9aARIr1t8
GkpthxvNHDKoUVhKQr3ANF63h8Bu66UpRc2OswTCAdwJ13oy7nvWlitkuPOy2fpsykGh1RvZhGAD
eu/85rEcsIvUTsiebgrW4CLzRTrandeM8qE0bQuJXuugkLpMpX3JsSjZ8tOKu/jYfEkEiewfonNq
tlhXw95d+hp5H0MS7HB3iuNA9l4WgjpoLMR3hZB3muJLvOoApkwnOqMLQVkmo1WQRvaCPqd7h4Xu
OZeIpmek2yXuk41WWks8pyyQZRxdtNTeFGb57QJ6viqRT9hRpMRYCinfEY4NdWrq3pReAf47ZSpF
V+c101HO5mjTNwjlWoxJdBrrWUhMwa83musUue4S/vtbNOTbserkVs2SV2Tzb5gfN02hHe1efmI3
BdOeihelupMCyVcD8dgvsX/rEZNW50/nthnf8M2tJ7VeqH0SsP3ArBpYPsQdRjapjjP0fcfG5BBn
Ee1NamjmwicLo0x0DzcBsjl2xRU1u22GzXLbKvqmHh2UbMxZC6DaLHfZAy5w46NFLotlIq05KEM9
CzRfqIqPHc7evdGWH100taRvmBelBggJCo3YWj+NkSg/x71D4oFxz7l7n7Xxi28U1t5t0CAM6klY
lO5Y2N9eKCeXbFsW8bb0q72oCyaOwtAI66kWpj29AALSD37OeSxhAKzKDj5Anxf4CebDr43Tnl0Q
5QPpJgffdfWdD0EpT2l4jimKxjKx9lXvJht6CGeUxMvGzMTOHdNyZafwqqgU2tBV8Qdqid55oUt0
hDq2Vwaeh7AllzZKWUQSuk1YAVL5YWX0gM/7FAwq8TNBlC/GczFE2q6osfWimobDaAb+Tmm+FMIw
lpVrt8sU3zqbwOrkDKQJhTFJH2NK7tPt/wfh0LLrmTOpHHMvjNLck91uIthojY3J6xUFqWQClfpS
nVOcx3lMc9v+Kqb0LbGas94ShNr2/ejlCuso1jLo0Ml5JA6YPOWAFrAvgx+shirW9QHxGtLcoJ95
6gff8NxOuWTQixDvaI4Wr+KG3k1npytCXE/qRMhcMBXRkun1WbXItFIseUdA3VfqJNqCdr1YK+oG
XgPpiHGCtQCpyYKmJ0nddBxFV9CXAe1t96H0Wm387rO3uhzSq65/W5P7nA4h8uqYBBtIltTLDRje
o6NvEnlOR6B4aPDIOVJAeiS158tBI5qx+dRKbUvhHGCWbm8a3bmPAu291bw6a82daNW3hhrgPgeF
aI6TvWjaNtrm/WLy68CTEcVfQ/twqUgszLKBjTGaK0D67GLGEted/l0opXt3akfXfdeplMELLGdZ
dk9lLHCCg1XPkZ81fP1Sbwg3G1WElYEgvhktd2z05wYQD85gJKkwITZDmEZHnaX+sqnqgPo8Utau
LggpWsG9XxACShyVqX31Q0KyaDXvAaiMcFxaB18JSNqKiAzKZ9ZOz6MiM39SiyZa4RzATW1OXj3A
qIQLNywTIrpWiiDoya6JtXDownldC8QXmnu4iHNwjUo44hhkB1xyWG+rBNP0lNzHWYluL/8u2esS
l0QAt905SyUZzsWTtJtNP6DXl9Wzi5wWh0xyX88hPXX4rktSsVUzAd47xXjU7SfZMKDllEIm/cR5
DaymANCZfhfQ7ja6UR6EDw3RrHoiQjqorj5MDX30pm5M6ANnHyq65RKcTalGyVLSKIr9GdwkwJhC
aSQhZdh2BrOca9QnnblkkbKNAwuyUhqMPrbJvJCzZjEIo2P/EYovJ5Jf1A1dGV0H8ghXsWHwA1Wv
sRW/9dZcIt6Jil9OwxIs7HZj+uYDMUmUWWnlwURBLkEfJMMcnfi9F0tlhwp6G6jZlwP0Y8iHbIVY
bu9n5JADS1mRwTUDXCxcUo26E7Nimk3VQY2U+wLUItWec1BFj2FXgBCFIsAIv45Y37A4unCOACZ9
QHr1belpxLLSegk6YgEtvhxKFGCOLhSY9qGufIa+YS3o3a0LdAKYkwkLYpgnvmvrk6uolemaQU1Z
0Mi6rxoLW/rAiNsJDDL5y+RW6A7FdzTVT6kADQNRMXL659q3oGQMP0I/Bi1cjQjpjU9lKOlKpssu
Cr86VbvYU49ntduRvAK4QMM0nlM/MmPQoGRhDgrtI7cfvujoYlxqOH34HdionIRO2ZRtws4NrXyB
JP/JsMzdWMS7IMRzVGPILJq3vDQfe3YBfR6tEwZzRCrbukPiEBiQ0ZQN+T6etHOqrugdUUob/KBw
huNCi6DGGF+OdLF4aOSdkvJN2SZ5xkvOZ/Tri80uRO1K7qK3Bjq29kan+KQMfC93IqUVbUDCru6M
Cr6jqsaEpfcwa+ic4nEpPxtdHHxzJP0cb3Y0ZM+DGRCyoJE/ELMua9SZlZ18j2KXKT5HeDLvbpx0
O4rNoDlfld+/ic4khVlj/ZhnJJIV2bmcioNi3BN3hkf5OeN/z+Pm3uWYCgihKEPPLzHATVAkgtjX
IXeuxRw/0RDHQFoB0TQ1WGeLXGKSTBK5IE0PCFHL2lqayjWT7IL8SDzHxlNMVouLO6rMefpEDbrJ
AAcF1fCzEDHbqNh9onk4LqBWvUkHB5vpG9POiNRlROoYP6j8WWfGqTGJnimpardOu9KbNvIMmSEY
yL9H6mBzKyxE8oqSFNip1V7KKRU78n4kNQ5iNeNxJUhsejbbSz3riRKn83eNK+/8uJbsykHhTX62
wr1xJmSShSnFnKwMZ6s+Qy+KW/CCGXKLTjXoG4PpnPzhE1rjO3Z+citAp8g588GnqKKlEEnGamZQ
tWinWMJsRVHSI1b9jL1i4OGcxrpdUZYSBWed0pL9qEak57rMeE7NHrOSIARCkL5oavPxqHBa6RCt
8BEDoks0c1nbhdghCwVknrYsPPFiK1n0Ycmg3w0qiTypGxJYBfLIHMh1QTwKujI0rSOyNmMAMqAr
CgXzlAK/Tci7wxqoRV/fmU+BxrfcnyxT+8iSH6XfGU+OpENQEe+rw245kG+C1cg2+x0UjwySloo6
K6Ej2nbVwg9hIEF9hCstVjJjpZV1kbGudfIiojanXC6gCJcUP0s0nm4VYHf2JeF3ZrGtuqo9meep
/aEWJJH1U+4wy40sGyXJ6sqYe33XPY666kIquEwFfJbapiSh2q5E6w0HKHPnxg697yRHkl7EmMeI
69zqQ4tOtImxPZpzHpmfPZNDeV8FwWOBB2GBWf8lbsAfmr04dwxarlbquBLde7UU5GYiddUhQN1Z
lSRfMUiMZdOZl6Im7GOUgm1L3H1WMnhsyEVbiDpg3EHT0Od6tVLr+uokjcNo4NoeoTvIktlM7hpy
Jckp4byKCmaIgkL9upo4Ox3XBbApVNYihnTvBToKU2O1NhL71HAcHNEckuLX6NsY+xOfy/mZRW66
hBK3tSYtQ5FgbWWZj6sweqlGpbgXAejbisOwwZXYJvDjMDasJKmzoas+s8CtlnZhI8ujJsIKJPnR
5oq+yPWnILbLXeyyCTPdlOSxYHoH82xxXBNi1clqnSblU+ojUDFAUS/NkdjWrC88JfU/inZKKAAi
l+kMVFbFSOYVGZJIstlvl90z1X44OC0Mr3E/GCnxqZ1X68gTJ8V6E1Z2noJgZeUFQXwGob/d9JrV
MY5zN7sONh9KfXBs2Oo4kljxkusu3nW7vzoZJQxXI9y3MCkoBJhmlWwq1+wqSoAduP8tT9BYx0RP
Ik41qsVCDdeRyJKtNtRbevqc+ArMyQYo3Ogv6+rqU9IJSUxb2FBmkDPive99clDsaw37iWUBpX+i
ZihjxgsVPLjNOe7Wes9eEwQESBeK9UZ7GSsRY7qlll6ryYfkwbEIfqbjl4mm3lahCmoFbT/iFi46
HBI3YvEtNukYnYq0eq/6hiM2eTNZ7lrDcAS2AG2MurtSjBTDbMBmRncfz3sDA70VzscmfbEGOoek
wbHmUkton4SByZRdCuUuYzOzF/Whf6G7iJPHQJFgI7Rpf058JZ0pvp0hgexV8Cp9sE059kLjw0De
r8fpV6p5Q+A+5KM1LDW9WNpuf9RVi+4rHO+0sx4qTH5THS/dIF7ZVoDws36v7XhVgTpjlSfWYesg
hrLvFCvygopd60JF9NG1zWth+vv5tSoTzVguDqxYNzhlS7fCxjC3nIa9xtwain7jh9kBCGBpZ6+u
DpdStS5YH7zG31hT96rr9pFf0iX2SQe3D9vMq02bdQqjD9zETNvoDJGEmqHGyM1VwiBVNfP+RIWH
lk9sdYqRTCaGyjAlkHqcHsM6ex0odDRG5A12d0wtGN99/pSIR741/JbDjsChVUs/pBrcs9m35/n3
ahUKuml05i1Paozmy3rwm/q9L6hqTRF5R1bLXntARjUnpSv+1u/7LXTkCBlyxdSCkHwhqK0XRgX/
biwfrKR9AdjF110zA+gX3XIWSkNqmjXdkyuxAkSzpp39FplGvcijEqL+Q6bNthy5q5xxbclkk7Es
XoAVew5bfY2nZO+32R12Q/KyYoVw+QodT/+ASxS8J8lJi1wSFpkk0fOgDF90FZdJWsMvhXRutDF4
GmzGGNK3Q4PtKaFvUAOSkTP6sujEudRRbbXyK09ouMoSfvIQPlN7RuCqVTd3Bn51sj2sky/eKWwd
krFD5IgXy+2ireoGm6zXtzm75HTyeoZH0d4H1rBqOEYUbbwLhbYJI7lrI/moRyy8FWM9NSPUuWLr
QxnHZg4HkK5LQWJMMdBV0jwcAkiazPbqUwRuSLdj2N0MghBlBsWjnoerNMyu84HfKLiUE6oezGl5
d+oJFu2MEvyI/ZrE8lAp7gkt1apunCca7a+4szyyDQ/ssBmuSvVFw6mwUMefmYGIakjrh5FTfqFZ
AT9O1yvLXssOLD1g5oqdrlabtNZQR/qPOtWHgvVLnuoneIKESBcftK/f6sHZakifFlJPN3b/IxMZ
MbruUSiTV7FwQbC9dxrlc9LqrzYVT6PuPNWSujvFiK+ssR7H2FopCrTXpnymj/kOs95s/XfVBEM6
1T/jUj5lWbyOzfiBnvOuB18WjzRa0Ve4WXRWSX3PSwzdrUeTah26yaeu0ge2jGuGBzdEA00ZZkts
Jrbuj0pRL1VSv6Wc9UpWHFsZvepF/9Y3xOEFwvA6opKJ+L6faMFCUKK8qRP4FzMBzdiu1MXuHXnM
MTvHCp50Q7vP+U0Mx/nisy7KXsLDqjY5GYx00izmz1JL76Phkf7Stz86pzLQT3USvycFzTg72iYy
OIYTFGQ434YCBMwQB7Rj3yGOySruDqbSvhqcVJZFB2rUUi+kZxqrD0kdvhGQuU8qnXoeG9yWwYQT
7MVUzKMZhgD1CY22UaOFxUnaAFY7milq05+NqTj3erVvJuOkpHiRAR9wKIA0iI9gpx8pLl0r5pTF
REck10jYG6dVk3NoM3qamjrHNO59ckzbgv3TBQGesiCCOKUUabXNgaR2dl9VtSIhZLLP5qgTFEiK
PBvtUS7ng8XX03s/gCJQrSUJ04uQ+hXjDNxEuyb91c8oWgEi91NjRD1RrAHRETF9Fl2ydZvsETbI
qjNIjc9NA0leuWrU4gwWZtXaVyPqd0SXI06gwh/or+aYGfAZKAHZ49W25mpM31JJq85TJ+6iUb8n
j/LTGOQ2qIqNTKejTxe1nuYE0Po9bcNLnj66Uvq44W3E8O++O+4GSAK5UtBJ0fRTU8cXEiGm4anX
yo8em0VVA6qrX6UY32wiH9PYfZYOp1wmFomomx+jHt4JquC0RTaFmtPF1FlOGVW+GxqdeJdgG9s2
JOGGzga6GJiCh96lFpfSjI7zu0hOGz9mjcSIsQK/x8aMwDsbZ/cCzY0+Y0DRYitgjsWVPCLc6rb2
RHfrzs3IQ0Wzyh5nG4rkWXSc9v0U8OrTQaX8QPLtNtMqDj8KT6a4Z837PXK/jwfWdcf1oJ2tMn3M
k2oTGA/DFL7UfXW1TJOcP5bqaku5nHzggoSrqFgriqRATT69pYmf8/sC331QDfcgS3kngbgsKh2p
zvyGKUBx4j6hOUr3OASQ6iTJMjVHigyf9FRfN13+bC8rbbozNWBfcAHZh8huA62TsCn6z/ODhrR8
aW3YpDL81muJZSHFX6IXD61cw+w1wIjn2dVBUiKA9sap+6nXfsmq1ryoEwZhwuYnNnBY/yMqw0NN
G3F6nmMCIxPmtQI/mfxFS1AUUSqK3Cx2gKLoFJjrWIH3keYzHc8j4Xhb2d3Z9S3KhGLn9/V5VOy7
MTB2gWw2EVpQ8dq1FLHHx47c0iEct47TnkX4FsylzD7/jnrnk2orIRT0QAlXtAL7s3SfaNFsAz/5
9oVz50sCwEer3Dlq/TH51sVPo1Xfyp2TUcEhgIQ30BdKDU95Yogs0nhDCW+J2Ps9o5vmmXTIkyTf
a3HPVxm3YjUxay3tzIY7SVt1GTUp0gVkA3SgsiXZ76xtU/1tHjKDenglwTBb0v0hNLw+W06DNTxS
yz1OYFdneEQ1cWeOEpdJ1+0z5Zfz6//kn/+T/FNYOv7efy//fGo+5H8Rff56wp+iT011/0BUCdlI
/Uuk+ZfqE6DSH0xIOp4wVbioL5B7/5XKh7RT0y0Li7VrYQIQv1P5DPsP3B8qjTSMWDZS0f8VdAnL
3j88KaojcFWrBm0xQ+guWKj/6q/LyzyU+eiMd5amYAK55RXgMi32f7tIs4TJoQvbcv/r4j8fIMj1
YECcS9TxlMLKgXshiYWv3bzZUABYgj5zn7ucXjHZAMdgLEPMQMq9xF+6rVrnWFUKXUXOshWN959D
TpIl0RkV0TUjCp8hjpiRFA58MaE0HAI8kRgDifYLTukEmqGX0ZtUplepsT+jTBqSSk+Mawy3RU/b
EhaMK5au0OoNNOPYS1tyeGrYqBOMBf5VlhhZfr5dVLTcma63iyJlv3RwgDx5dBDrxa8wtdtd4Ryu
9uur+NvL3O7627d0e9TtRsTzm7AmvJrlaaeu7Dm+Ax6t1b3eLvptn6yFkI+39LLbTbc/N7zhTcb2
r26jlEXe4O2eRPh/XfwFLLw983bX7em/r95u+/02JHDwxNv1/+/if//utxf6/brBnKQxhtWwa/qq
oB5MytztUjdfvV36fUcdq3/e9vtxgVngg/zHU37ffXvK7apMaFOoIRyWf/VgzbSm6dc9f3vFX7fe
nm7SOyIya/587CG7qZS/Puw/PtPv9/v92f/xr8j5oFB0QdHiP/+fglT2hMGd/w+ZhL7Mio7Czjj6
sPdvf8M53K4XNHMp7XExmXPtGNlJo6zyze2mXw/M5jt+P+TXa9we/etB892/r/7tbkqZvFsriH75
dfH2qH+83O3qv7/79hZ/+5RQRYKFdEN6WG4CKTGagZZMvX9+wjJQiNRwe6XwqkajLXW7ns/5b7cH
3R5+uzqRU7nvL7dbbzf8fqXJaniR2/Vkfvnbpd/PBOZMsuDv5zg0N4EV6ZRwpHI2aJntGyI9OJh/
X2z9rNqnOEuwuXP/kKWxV2CvWfRKQPFEi9l6tLbwekXpvFg8pDiXUMECaAFHQD5pWB9tVNVru1HG
LSbZZXGLN7yF2P26eIvcM/k2KfzMUXu/Lt5upRF1EPiaNrdrtz+3J94e9/vq317yduPt7tsDfz/v
dhsySPyotPPXZUBrlNZt/tmNpQTbVB2mNjf29PPFAkA9FOekecd/yMg2/zHo0EG8vA3tNwy9lkJV
yvMKvOms5rgJOYRN7wUFoheP5WkS5WNuJiMNGyIFFi6Vgr1lHqu0HndyDq5xNOIHb5d+/7ndllmw
7qnxd7/ygqbKyCYaCREDe2W8QKmGfmlrVCcr5OmB7Ie9H/AnsbRyHU7aY5gOiDicoGa/0/mP7n+w
dx7LjWvpln6XnuMGvBn0BJZOhrIpTRBSphLeezx9f6Cqrk6qbtWJ7nHHOcEkKYqEQGBj7/9f61u6
du7IV3JqjGQH4MBITCfaEpeHBcJOteevoBPBzGwGQb/5Zgs7MSWSjMd0cC7ZPZfYHqPF6RdZAN6S
ZtpLw5OmjG8AWCVoV1FzhDVTH2GlU7Cyeq4QRJUw+V7v8Rw4ej3Ay9nCaimidQcNPuHnvc5s1Z0h
D45ykRoniKw1vUvsZWNrorklNbU26Whe7n49mYzijYI5z5+3M+hyE29JTV8PL/co3Eq+UqjY0jiR
LjdZ3HaBQYCjZeQLbQ1dFA9CdNOIvRCA66HsSo89p0EPS4HiQkdHCkdbO9yS4oeBb/vSlO3m6/D7
eq7Jkdcbo5q7hDsfyYXPA+bIHdxaSKRaSxGN5f8/H1/uNTLEeRtNHLNpJXcFY5wPWW1s3zDIArss
kbwkl8dAf+fD3IR8K5O8YduMXvW6cAAnJJarPZhktTriqs6Hz7s9sHxod8jPVz+cIChFrUnvuybf
KYoym/BC9N6VZH7eNDikYSMd9CE1IXd1mK6VFeCiScIPeX/4DqBnQxXGZJm5MQIKTmSa7aTVJjtp
OXepv9yj0FHifXc/v5pxgIfWpPVSOlDTdsLvKmbx5RK0Lcr0D53sF3W57DYZgzr6MbAm2cwiu2X4
4f1U6usGO3G3k8H8xt44y45njASQdh7APqgXO7KjkvU6Em8lsrLUX0OI3m9767R1FMuhdJ8T0PFE
wbhFxRa/FQpRBvhG8KQcB3NHRHIMJt5y9epHvOyL9UOWvRQSWh0fQNhrkCh0tHfOpmfInNEc/Ul9
1NWdqu0V5YiK1fjQ6/2iPbJGrAavlXZtelXpTxSDm/wU4hEggWs5qtmpjK9acV+j5G3drveqEU54
sNK6G2AuKUHH7pQFspdUW2WzEgjwDvR0waTk7Qi/57qzDYok0/CjnV2klLxjWN9Q2SkQ/4twPk6L
eVfmwTQ8F8iKhui27n/p5HkdzKORubTTzDEAJQJwBqkKsHHokYQe7lQSWYtDlN0ZhOhiJRGvo/Gg
m7uuYG2+U96miESNKkA1R1tXzk5Ftx8bpxKvY0jKo017PFceEuWJBNbidomChfwodPL0UX/LqFt+
tE+mcJjFHUpIGibM126kq6JzhXwXap4ee0loVxa58M74hIvA8qabKHGlR7JRqEfRkXEynPr4+fr9
ou9nJaBcQxtdaz96w1nzY1RdkW4jJegIfX09mfJ7ujKPPKztQAXkJFJQF9xKD2DUx+uhNW6zAcT8
YVw5LyAr4ANIM8SsT2p3FXEcHeFDs79T1IJRAJY7h1DwG22FQe09cwUO05l0aSS/tEb5AseAbq+G
PRK01S+gc/HsNrJr9gfpd9WeoUPWKwq+bYexn4QmJSvswNEpGztydFIUddg5Gwe/CW/Wv1bDUSO3
aYbt5y+9s7lFLaeEqTl4peUABTDMo9jTU3HFU32nESSpPgDCWcWdGrsdSfK7sEV04BsVpU+P7JgW
ABrCx44UGaCPKNSByiy2N7/Oj3Frp7ilobOce3k/obgYx5PW+0vqz5R9YW9GpFfthp4ED6jztvSR
vuo4tqmwTF2AsnGS76bihMxPfJBpAwovIiJZ4wZiJNC4NdBBvNG7UJ3ixVIOHadCFBTSbQ2tTqRp
SZ18VVFqibdtuheT2iFzQlJ9dbDpRueFO01HmaIP6gIJ0RoAOsyZDlCiYbB74ZS2xCUE6BhpvT8M
5g2+hDbdkWS0opr9RSHJekQsqnnKNeI+mod0J2FJI0WLSUNS/eklm2zdCNIFHalfFwHLourHVq1m
4KzhkLti4/Iu5HgA0rFyl32O+8Yxrqxr5VgE5Q69qrDhHPDJ2DgV7I4dpjgzuWE5tS9bAXjZP7Jw
IsimPg4/NFotww7MW78b7uRfIQqHdsemUXuvqeYTIEDdjm0Ku8AsTjTndfrzTvRYP3caWuOAehNy
kwH9HNCKe6RdvegAlLKl6TROJ13043fcIauFXGMvvOVbKENPhRMaQXJNlnQr02ZzksfyubgiIPFG
fRC8fr2LiSQmk6h5RT4Th+5QDfCHmMN5YuqOTaDkV9J8EtSrNjxGW5fvcan8xsTefrTy8xgjtHSK
M7VhSd2hgqWpsoDMvbWeC/b/T0pdR+zx845MXmQLNn316LweM9VeJW9+ptplLgHeqykDm2IXnMuC
m/4QFQwKXkKNb7R2HRTC2iHTBgtzRg+HWTBn36kWHjSybNYHFRPWckbalnVvdBf6lguDQ3FUAcWB
aQnBQ4ocwiGaVq3uH4b4YVlJK8TP0EOePww5TTRkDYQn/J6Wl1Fl+dCtdhI/Fyguxh7G7w0JJI7I
A4xWhPWgoDYpsqH+3WXhSUe1xMiSHGrRTaiZ1idJOHbQbUxsZECd7IagFpjfJuoqnO42wV6kECCw
G3+ZdCrtm/hHQiMOqcmRBU2Mxm9EvmwjWneaYLqrNlitSwprmcI8JgoiyF0iOqjropUz7CqI2wBf
3oNIDpMDodER7NQ3aK26P7XUqZ/rxdVv6Q3u1bOS+aufuuVxudVbT3kNKWg5CMwMjyONBM/JEX/V
DAdP0UOaOOL9Rmz22HKJwCA7fp4tNwx3aGKiR/XW/FXvCEm8+mifB3hU12lvIzBtQwfjlMARywPB
QxZna3edOzvhDpWyndhkAtixr939tD/gSf3sfN1FI23Lt8p1uZNvFwYFJgCPqFw4Y8rn9JkUOGRI
7bN2N4aOYtiF6pL+Hj6gkONfQmN4KUko3Ui/xUV7UbnhbWh4owyn0jdTFIAONAKtQG6KstvB2c4U
qnKJKIMKvCeRuYh3eESq1y4gU9Wb4VmRctzdsVyq7DIEi9D69PoPqjs60BtkcllVfyyvySsn6kxy
3y27cdYd8ap0+qRnFIru9Boi1z4tXgT30+6uhZ/iE3HgAN27t4jToDhUZ21XnMXH6JCR/cYlwS4o
r6bXcLKqxypI2aogOZsvAitDRtznIvNIcFzfDbYaXoad0niu9pXDSis2mbY5PJfYJEGcQVNolIrZ
7c/AMTjOeEJ8lB7kyBnv5afummaWP95qpxnlwC0xIo7icrD7g+Wo7DRHOymn7nq8bfdh8Ir+bz2t
p+Za8U2kCzvcRiekIFec3jiLso6HmHHbB9C29Fl9VOj2Ut7zCrLPbVY6J82PX/q9RtX1bfHMQ3h4
7d7mU3E9Y/CxUU+65Yl83xOqj9Wn2+RkjuDhLLMLe7DTq9ApbF7iVle5b/myk972e9106ofsun4Q
fiR3szu8pQ+WnT6gHPjdPE1evdds8sAyu3+JnvXVRq3wQMIRzQRCULktoD+5ks9V45mRjEOHPaxy
XiFrczhi581tZk+36117MmOn3mfXwk5zjZP2UCMuCZ0ysG5LJ/ENBOI0hd0YzYqzvgwOKgUb2yOp
Rg4SMh3f8Y72GheXl4K/KogCJiX7/Mjh8JQ+9Kfpd3ZtBuOpeYPpCMIIFtPvH8V1ckf83+/4pfxV
7ET2BGOMdtSOJL0IzgpU+r68H67IvvWHV/ExOesV0cZ88R0nVWI/iB8QKQQCTp3lEXTKbD9Y78Nr
L/PNZsfmXOzMN/WxfcEkjtqCOctb+5L+RAd0TTzhfJ8ds6P8iFD+tjmrj5knOuzUQL7i1sHUwge8
o8tm9PE7p3SpFWonY6c71SH+sR10O+F5RlizqWS3Ea55xQQ+XCU2vS62pDgj6r3hknhoPjhWaeqX
9h7gg989gqlhjOmfq8yrrrg6ZR+X475/Tm/QLfH/zFnk0vDl+0rdDVuhH5QQz6eDGHETg7Am/ejJ
93vmZ5xM2HighG9QeHaNavNrNDqJb94MAe/re3ovIIjOnHAiQ8qn/acuAXRTFETio/AuXjEu647m
z3tgfpwtt/oh2s37mS9kuZ5/tS+gazpb8Tney4eJKflP1D+LUz0JN6uP6G6HFHhIpV1HhNPTpPzI
AnFP02s/I6CzAcaunnIQrpSrng64cVd8LEztOpJZfuGQQiRdyFwyAYY9mwZaHD8+L3diYNysp2E5
g0M7MqVAb8a5Ir5g0vHGXXj7kZwndvXsFACIadgwVT6kN8l5fZ4vA+BllAiZ3XIhUu3usfqgMc+g
ItraO9l9/A+WHmFQwmXwfbrCUqI+9fvSnfcSS7W3/qY5WO9FTkvbgW2Owf2Ne+1L/AOrwA0KFbZ6
PUVkKd+NCNVbh+99vDeexcf2hty0bA2K8zY/eJXem1c2MSWsQ3Obj3E5rc9cEMf3la8xRV23DcYM
bEwRpquOYQlGn03AynJYvPdxxwyPteadcm26ETxC5tFO5LU3jKVcJl/X4mpagu4xv2HIy2+mK/Zr
tsM55gnHgaz3G/kQc4YyBXKkV3EPWQCrtmcCIUaYzJO1R3DUDpmIi5XwRgzE62oHXUd7iJ5bv3YX
6lV2zDD2FO3eY7f2tGCOuabNZ/002jignPSG7cb6KDFIYub2WY09N1xx3o1f60s/Odov6UW7Mbl2
p751XT7XR33fH2Oku3cynS7DG1JEo1wHmQ5Sh+GgfZx3CsNzu8dm4ApHNDJBEzBD5Z2DW9PViEyw
pw9CN5vX6DAeq2DdDR8j48QOiI3TONIu9dP75JydCcbzpzu/Ja3+WeYQAAZPhPYjmLzuzDkbIhaD
DOOoHwp25MQTn5a35a2+bR+yu+K6P5WMgsZP6yZ+MO6lGzra6z486EFxbZ5FL3XTl/fUFe7m48jp
rOy2/3TsHJOdtI7+JL/lt4LmpTXmgV3T2UR6CT/EfEeSO7oW1rOJ/cOMrzalOQrlk9n7zIsP+iHz
NtenXe9ZL5xTX0IPtx218iNimdxnnK7QYT5EB9weK5Ffvmx6q/EhLglRZGfgB3yLKCSMh/6BPmh0
0DmOAHc9VHfWMxvxHgVM8NN09IdLtRVImK3LBqLrnPXRpewmJJTiKvqgnzefz8HtVkxZp1ZA/ekS
FH65J20lqsu9z2oUsFS/mtIzqxCKUOpWTr7cXCpRXw8v96IFhIE8oce8VKEu22OK+WGIrdqdDOk+
wyC/R3YK/niq99B6HKnvDLxzzAXH5NgJryPFHGkdIaWPOGjkZLeIFexBzupt84ERILyjkymK0Y1M
TT5o84gF8HbD0gXjmo5ki3TtVp6rw+Ve1yntbqXDLM80GDqCPpn55Ftfoe2Kf9zNejHhKjAxXOaQ
gYmmRv9qUsE0HyOzxWESKVRIyvKuWhuU0ZfY8TWln7QozW2rUhtMaD4fvpjfMYZxLGPZu9TrVF9A
GqUxM+p6jmhQzSBlEwoRcwa2rNaZBm1bTFWLjoCYioajZYllo8dPgnmtMA8oDLiNsAWF79qozRk4
2SZ05oglqud5NAyHHGMcXtbWSzG29sjl7jDrlDQSUpX/ki5+qeteqr3GpVk3NWREhlEREFXXHC43
y9a/u4SMfz1XY9TfIVv1I7LVKalI5KD35M0exu3m8vByI26h5+PECuxSB73c1ILQyN7lrh6G534o
Rv9Sl/2s1cqrnLNeS7id8G/tkpqUKdFQqHhulfLlv+9pQ0Ttc3vucvPt4eV1l1/LhJrGRlEur5JZ
UejuPjKx+xABhNNbZQDIBk5VqC1o4quj1OMmJ443J/GIMZkiJbFdYntoJBhhKbHqRbifhojU+UFh
JFIpk9db12bu6Oxd7mWmdVxLUl7Sdb6tRL3EEdZQZSQSwBiPElyJoWklosv05rDKdXNoqKpTI9Wf
DNkc9p+PLj+wRNNwk4ia/V+evPze5+PL3XH2rNJATbhSY9UY8OWWInIftdSPO02L6Y1d7l+evtwg
oKfKvN18Pfz6adOFVFxHZH7//YrLDz/fRRnadgWs/s9fhjJzNgcDNxFIEHibiYTFV9SuEosuqC13
S0aVYdxUIDq7l3MQykUFR3KUPUuaX8hJR4Blqfuvn13uRSSpMwat/A2XX4Ck0one5UeXm0YW+NLU
DjdmVaP3u7zo8ktUr3EvS5c24vZ5s5Hzys+3+nr28/HlFy6/ennTFHAle+u/t/IvG3F58uvXv37n
8+2/Pv7zjXFYYIZqx/tvv3J5x8loW2dqqWl/vc3X675v2V8e/49b9vXRjZahk7ZSOs/bfru85efd
73/d5x96+c3wax//5ZM+715e8PkHWgPrTD2navu1zf92n1w+GV/1P7+8v+zXr7/z2x9zedt/2YKv
j1hf1159pE330m1NjXIb/FdN+8fNt+e+Pby87ttz9ACoa317G+nStPp6+eXe12sub1E1Oiuwr9d8
/fh/eu77x1ze4tvbfr4GFu9dT7/NH7a/z7z0YqN0qYKmI1Vku5AP2/X28tNvD41Lh5PotPLzheal
i3p5+efdy+srak2wRYfgf3qLyysuN19v8/kpX1vzb3/v24b927e5vO7rky7v9/XcvHXBLoKa/689
+jvtEQogSNT/Xnv0nHQ/q5Kv7g8B0udv/UOAZOr/hfQIFr2G9gdyt4i+Z/MU/u//JVjyf5mmpMvk
uyiEF+oaP/qnAAmVkQmK1pT4iWwYCpvxz8Q3+b9QDBmipcGjE02LLfy/wM5Jf8qPCHrDbaMpoqwq
vN2WSven/EiWxBiaWawfrahqd0bYzzfAODU6+TsNzz7RIWN8DRDGrgmA3sOWmJ1SpNZlKKjq1enq
L7vv78M1PjfHkJFdqRKqLWSSf25Oxk6p5brQ4NjLUKbquPZT+edIGis4qTerDsmGMynQCCOCXlqi
f0Mi/xPB94+Px3suwiZGvyx/AwRbyPc70j+QI8/hS0VS6j35lzu978rjRHSBN+l94Y51f+qIXvwb
0PolOOQr1uLy4RwqHCuaposb//rPv72NpzgaMkk94mjX3qpwyQJ9UegHwttK20R+IG/3yNIuQ94F
eTX9pRc5Ddi0OKad2gdKl7R2FIuxU0zduvubL+bPhIPPjYNmx/FmiriIv6eeTKS+L6LQqsccDJyX
ds2LlmOYbZpwa+BTchg6VKqRGrmXSHUhKYJ8iHJCwuT7vBKWPXlqzTSb/n/erkuixredxtkgWbKm
k4hibufrX/H0CCu6woD4cSSkQg2iJpxpl7IkKEPrt5hlVKHFNFCwPTGNVCe3I2thS0PVDqgvkgBr
aarKMJ1HX88bsomW3sDOTpN5wix6g4ecBMKNxNzeKxWUn8VQN2lqIh0nff6lx61+HqoXJlXGRkja
EXrUuHESVa96bz0KqazeCVl9y0lGCVcqQWKl0lkXMbaSlHAYrOU8RCG+Skh6YcXyNulMhdURhUNd
fhbl0jr9570l/QlY375FFAmmroumBN4OcOSfe4tc+HDIo1A9JhUBjFHYqa6uQd3K2I00k8PEXueG
8lhFP4/uPSBz7Gj/rxsiSYw8Emc6J9S3Ey1KFTGPl0U9aibxsIMYXxViqNyteMRrub+HQxJo9dJh
FmdO2xd7HLvzw3/eGdvf+ueRAwNANVVNM0QNjuc3Cjn5f62AcF+loRKTELFjDbM6cHP3qoXlL6Eb
JNd/N7z962jLZ+oy8HP+5ZLw7WgVxxTlhZyrR/SluxnPkyt08n0VmbdVWAh+apHXWGjptdzjQchW
40okPLllzfTUttrfnDqbjPZfdoACvEpGecoX8T20xAwVIJ2CpByxHJ+qbFJOitVfmTTXsd5bGIqW
n5ohEARfGomTJxPFg7Gky1et+47Ie5y/tXSF/J3+waJph8mEaGfpOUzKUttXSzpgR87CvdlXp6Lt
Fj+rGLylkSZ2h3P5P3+Z3+Cpn0c2SGZgrQyeqvz9yA5lSQ5DPVOPk7oQlg3++aZtsYxrc1wEcypS
GbFMuoGd4FBqUPd5p9EhXfRXBZz0He4He6pFdBwDfCBzZQ2mTC1ZhXU87ocJ6YYmC9c59IZQxF+u
FxJ5ahQHPMwGhp8b9KF6nWa5VmMqTpEx/c3w+yd5+h9/nUoyq7UdrsZ3NGyWW/pcEC9xVDKt2WGx
RwsjsrlTOUB1GX8MJIR/Tvr+fcrSdvx/Pz90XTEROjMNkb+fH3NttlVrNMox0SyihAievK0Jh5fq
huI9eiTfKpDqxLliHi83qC1V/VfWQA3/z9+t9Oe1hwv9FoqLgVhlhmL865lax32VNxCfDn2YCRib
xXs1h+eCqzFz4jlBYzylol+bZFUWkaBcyR2V9QigK/y2bgisPHKjqI3uSxYmf3PR1v4cUbdtM0xm
Y4pOnC/pGtsc7q/XnzpbVVkn0PfQ4P/VhdzwJI2GaTYWGhcKC2LskCJRMs0r0ZA7yiIQ44vQvNmu
K9GUy54MS9qORkU4ThrqFn1OduC1FF+ymmMWalbQVhzGZakZ4NQxpTArw/7cWd4s84tQSVWC+8Lj
LA3066De0StsAMMlerNbetNyZzU8Y26w6wjIZtlp1OfqyO9SU6Q8LYpI/Zj3ZXGRBEU2+01bQVgX
LVCrayK7pGp7ksCKh6Rs8XbaJVJV/V0qg2T8eaRpTH0NruGcuKQOK8j9v10MSiLr1blQUJlFRKZ2
mv4orqjzqgTqkF4WN8qWRo6PX3RTAcnvyrY7FTBBhxkakqZL9Pglkr0RASckpgaxvIJyiJkK26dA
wXYL0E76iZ63qL4W0HDXlEZ2jNfQjutZOSyprhAFqJ/nSUyCPMPlrGI0dDF90zbFllsSYBxM+oSX
LY2cIqILqm8yxFiNFgg/GFPWS51R2oqhKTUyqipb2fDyeE5zGqgWiWQg0rnI1BveK0RGgi0t3hMf
P3pTrVRAk6h4m0lrHaZ5hyZ9uS6xSUPYK47yFJVOL+u9z/SAQ2giwb6ZFWdd0GQpFm2+XhGCRgFn
m5TPeZ2B54ipq5raHeNavNumRW0+vi7J7C153N3HMhqvMRapHzUCejxdD28yzQDWU6i3PWPozSQQ
yQAtI/Z0sZ72zP+DBjAhki4TXy4ybsAbOYrFpbNOFLVqhFlTwrcHSl0lTpTElRwN0lwz7SkEdI9I
IsHn/zBEQDtJNOSOMs5vHRfh+zx/Tcv0B/THfJUwXgPtcFHtzadOnehoT+JzNUbRfpC0NzCsuYfp
n2YwLAK7ksIq6IycTpQhYskDBX1ADwXIQ60TlabyNZ4i/arDyr1S3DwCUHByIAD36NTgUuohEpW+
DyzcRIdlXR7TMplOc6rsZE2MAVfoH+WMiA90f+PlRleh1SFZVJXgXhgxxttxlGizUcJV8i5+zcrl
RiX8jQjK8c4gwqObFCby/XB3IZmF0MMIZgFw0Wzc7ayKH1QSds4xrkA6Ekw8iqIFtaP3MPob+qBl
/htgXnQnjOHvUJRDb9Kywhvj3ApA0jCZ1XJQ/tFTVlNdJTPATYYyvu4JESG5yDR/THULqQRPcToZ
xzAm6pSJKvpJOICelI8ww5alfRiArYHexiONdsIk9dks4kCr4vla0Oj8F4lGmALeap3Dei9Z+Hh7
Q5A8s76Wm7UEZ6RhJItLBZLiwHxG4rtRLPTYsVzSysryyW2iof48wtuS6mMRcqRa3JOa8LeVtN2x
WqtfVsQ12LLW6nYyq2tGMtmt4xXJsLIlh3ficrAGHcJT9y5wajyGyktabr3GRD6t0MAchZU0cj81
PU7leCUMOVkrSwMgIAoidQpve6Qf6QKseE1RZFj6RwIUEABT2/qdEEuOlY3Vvoig+OXGRBc5jVEI
ptF5IQhVVQATtJ1V77oofwvRbzFgWNcjBleiv6eKNlFr7EM5fIPGuxz7ovpNaXa6igZJpKaqUCHn
W8UhOiQPkcYRViaHTkqWJzW8b+WEo2IYjF/9SVvH+K6SO9GuwX04qkHMbVeSc64XxSEXS4VW/m9r
koSrXOveurxvbrZovWJY3+ERTQcC/BC6ZkoVZEn7I6GHmTfGM6FXr3A13a7S4htYOLhbQ2hVi2ll
GEYnZ5oM5aB1fCAE78LpG4bAtaEAkA05EUotyiuBb0ssLHRJePMcDHPpqWqEp5blcKBNBqykvIO3
aVU/C6YUqD7oE0hSfUsgIgJQEx1olYTE51Dyk9fyXpxjpA5wdEdhfY0xr3ppsxg29OZ8jwUb6M34
2sZ2OhRdYJWd4bA2aqPeTieHXaqf0Jfvli68Sq25OyuWX2L18PV+HEi9bsEMTiju2q43AQHJkGSN
XdQb0cMgIZrS8uKxVVOkalIWPjWq+hGJ82Kb65KxjGZLxnJQznmNQf7imRqsjGz6kBGJDhda7lgE
yItpGUKWahOEAzUubJ5pOVko26IWM9WAeGW0HuLNY9VshupZUm+EmLg8tTDdZkbpoJTa8hCdZnFk
dg1n3DYi8TqprOx1jBrM6GnkSypr6mLW9l3XCPuxJ4gmhD3TqAMc9s68EtYr8nWgu22rxJKVsS/3
PbusbeN6q1lXASAxw5nkNWe+eL/C9bDnWW32FqPTOQtxEZezJxWmtvHUb0u6dh626tEvigRiSto9
UOYyYDuYlddk1mtY6NVdsQInTPt08vRpgjMiz8rzqCKRqNPZmwUGJ2XNuELI3ce6gForJ7icZYim
UmA1BES6QZtKdghrBjfGLOxVejZzkMjnCMe8o8OvtS0ZdCPlBg3BHSL1uswfDGHOT0oHYL8VdlbV
DK7d1eSgD2vNarGebzuTYEQVoS3cXO1Uy8Kj1UrU2AX0pwDvaMQPNcv4rOWa3xrIhwbGFB0cyywI
BXJjQ7mRp2ywMzAqcjNZP5pu+THmSbubC8yvstW8CA3T7GhRV9iThe6JUVa4ZSOGO4AfFMe2xYWp
Tt2vJUVFBXpKPGY0NZFcUDVq1PI3fA8gJIKmnJrYOPeYim/MToKN0dcIAXDgjWPfnpmHr3ycFYEK
1vy8buNj3qmNG0kt3R7Nr40ZNG7M+kVZPE1cFV+vYmHrnMadbyqiB0VX30OtYnWp9K5qCWOAq0P0
Z2QWwoyKSe5Bl4xtmnp9CqdCn0BqxjP6wU6lfiPBtCATTTho81wfkxEZa7uO04FxWCxZElvGYrAe
HycE8ND9JUu/IeSzccYqRVqmxpvsmmg+eczJaGl/NbKyvCaIX/Jehje5CFczWQdA94drSGPAraTM
8trRuoafTqFvratgLpWelBxKXjK1VC7+MoFQsDCwxTAsRmOGQ7oqZg/3DWHKnYzswVIB+ChF6BdK
kqI7o+BAlxRBweUT0yYeglrf+HfaSx4hgk1DBFhU8lR3lVPtFK+I7rjyyic1PyhFr4LGWoCyxiC6
wkHPrmau4IGid4QAtibS1VzwuTJKZF5ZH0Zv/o5BSOw7U30dS+TEdcpyVxW9Mkx7V7LE90wIE5Yk
BVBbYbwdix7veDtz/MtEYrSki4UtynNlvCZ1j4WK2r/IggWN7ygsHN8EE3yomvSqWKDYFVlH4zyn
gbTBO0L1Z1VPsaeOxY+hyuLdmCUM01CXwMbdQSaf/dDUdLcp41ddP27FsDlW4sCAcswq5fdcrggO
5eLdNIZnrQNvDPNFT1Bw1lWBaqLU/HVK0Guu2DI4Zb3OKBMCfV47s84gDGArWACFRc3c73MrCv0W
Cka74MgIoeaRYxCCjOuuBNmcQZ365UDumfkwTgQKtbPyZPIvcIfQn/rlFcGS7ifxvDc1tEK5Bloj
Gqs3sVjeBindDYv0U/NGCXBTLOb34zJFbm2moJVJhyraJ7roMMEzAKuJ1ilOq/2Sc610uqzNvVQC
HDRAKJz5MioSLME7wWeoavwRNVlcywhleWr6molxphH22dV2ido+bJvVgTSiOnFUnkexcRKA1J6k
9F6oCJJrIlxCS8LuSQGTJpkHT/fUzIQSgE0F3TdFLcaJhtmv7lYd2K1cVDt3SqrrKlXJthp9Q5ZM
dkV/P9QEXoFKH/euZSWhi19ZcjqpQ3c45bdRP+b+uM47SccusY7gnfVI82KtZrHTd7tFzrjIhiVF
cS3zagEaXhFtLIu6U20p7VunmUNXSiTBY9FXAdBlLouHM7WS3tbXmwYBo5K9DJn4SviI6QN51R3i
DkCTlTeC0WLHEXuH9LrIZaXmMkc0fatDQmeqEtKw5IMV704Fx+m1KuyTsVWfuDDcMheFD6KTMw6X
II2MGoLINKH9N84mhLdA7lRfabXGBw51l5dYb3BxNV5mxj4zdJvIr31R4WoeZkY50M44CD8WjSWG
UmUBw+YzRD0g+BsETyElro8ECdK5fC/GjBZFMaDvx9qgwnlzCiW7Z1VxICOk8gyyHh02NCgjYBvk
kmB1qhM37RTytLuIWMzBKMBNQBLUPqZZ45qhiIbfLWmwzMZDggiBYMyYC0EKuK2IFVePopMoKY2v
9ChScP00Dmv8c1Fn14k53dVMghk/IPargvVzFBgqx5YyPW0faC4kMJrCz3mjKY/avTLBHxKn8HFq
lV9KDbNXGSicFwaeBWBt+EX82cq8kOhjZ60qZo4Vl5+u1xHWD+9KebvmMZIvS9DczPAiLNvTWlLf
1dA8FyNGpap6z4WF9nwZdbtM/pWNU+dZFd6JfMWzIKBOW8ruVJlIXHvpZZQ1FFp9foqYCDoZeCHC
CCr8KzV4h3yOn9egb7prM9RG1JJW5ID7OMsy7ymE0F7YkD0gmgo09iZtRLou8HbIkDK1bq8LHc2+
aZzLMe5cHRDeRqACsv+itZvyUK3mmwX1YipLtpJqeLTGmMQGY1P9WHApwjS7lseowEbFcpzQRcNT
C/VgsppgqHhPXqsZHbo6z295grBPAIFWmDJXl0GxbM0p+455vlakjojUCEIlGpEyulN1YCk14bF2
uIAW6SIdAwlX10LSgiw3nhUJClYTjBHmLZnADEMf31ry9WRwv1bG9KQ/bJcwmTAHN+pUUjuT3GGV
owTA0k9Ji4oiFpENCkN2UKd4R0YS0PD6txQxPBPXyiTXYjmsmU4PfzfiKgc7JnYyS78V+oVg55wg
BsrTO0NfI5CF1t2U1C55qeOJEuh0H1lEA7G2WD3Zokr0f9g7j+W4tWzb/krFbT8w4E2jOok0SENP
kRQ7CEqk4L3H17+xkapDHdWpqqinjuLFZYQgJNIBSGCbteYaE0uKemPYOdw+LCA2ipDVKZS+uxpo
DN/RX4h4yofaR4hFusBfh30Hhy2wLUJYo4z0LZfWKeXTQB+taQvFV92NRfVuOLZyaZrFqacZhgbG
QBuy2lbuayRecmFubH2Mr/ic+GpZS8c8vgqD7Eabwhnro39sb1qhr54nhVanoPxEl23089wXy8Nl
waQEEa9l0uOWWhO7nS5Enk3f7vq0Cq9KyC1Ic4t+OiB+27dim6C5UNHShm8hfkpeMdY4NKuSF8iU
tVpViBONWBh/rMGUQZAZIP8bA/uTNpjPeqr1XmeOBJ3SZnAQ10kncj48tIbqlFDFvDISt3QU8gRo
rDZllJYv6bYoqYJopBT2MmR2pomTvcoFSxcCmfA7lF+YFY/YRM/D1ikhfZv8hEqwibLyrcGFY2Un
ces2fn9rD5BYmf9YBXBDpF6EVyDOQMRUjlND/y1TtsYh9bAJOwNhMKHtSyh827Bv43VK8pCGkzoI
y5TeDOyCZz2keCQgPmbQzSRAt+I4uO7SUN7pRUhNoHJNUEYUtTGbcxQnXa3I0ibbKFadVd1PD02l
vU5RYwIUjL91QluGhRc3kIgxhhqjfyqhM3h4CXJeftOytup9Ay7izlb6U6Nq4U1H0YYShZeDDuUr
IiKqNWZ/Ei3lMFGsFQHb22t5rB2lYKDYkBLkPZ7T+rqYEfUR9LCPmAK1J8yzZMog8+tmppKzDNJi
RydFGZrGzePHkXRndIqnqwOldWGl7ht5NI5pNr9NoK3uyV5cWmobnsADSV5dwgEYJ9+5NlFKGk19
Kydwo/BloC4iU9CyGnQmfqD0aylMsiPoxWvEYHTWQTp4cTZlXpJMkPOGdqQu2GFEU3KLhlVwQMIV
QwcGSivZ6GlbxPB9E0Y7HKWKG5lQGdzEwsWyrTn5MV4X6vAEyRhDKVM2Tk2e35tVdW1EcXIqamF+
aZmXQxmFW1tll/NAtXf0m8POrG5yubEAeOJfYoR3SWpXm8GPgqe+QX1bKuGXoty2WKqtIjOy1mVl
aGtJbVGBAqTF7oEyjRSoTzpWkmtNaQ3jjVq0luZ9GOdLvitNFFh2I/1A0EX1fRrvU1UvjkZYfK3h
zV7reJ95c2/jszTRu6rG+OL01uOsqiMJICU7cujhrszUfjOOAUpZ7cBANdnVtg4I0tHN45jnW4vJ
baI7ARLtG3WmbGYMhmBDShLSc2l2btQovktGcECMV093JcP7NuiqYxEUT2qRyRRCpoZnWYl0sivq
S6Zk64BI29om/T9WpdmpyIifBBiQtaODYhubFMlWo4NZ2HfToNcnBBeflNRQjsoIItckRncoZ+mT
PIXFnaJpe6bb9rqoFN1dJp9qUQX7tjcviRQFN10ThEgjfRpqLUCCTfzwspR7SgX0WLkEN1lQX4KF
XdPI8wQTi43La4bc6C/t+5zCDUk3m9tQl8P7YUgakLcm8feJIYALjYiamay97QW4la4QmMCYFhVF
eLpxwhJD22SmBvU/0/N+1Y9kArRuIDqSBzsLDlgpgdWPCWPMBVUIOVjSiumPNwzmg+NrjlfV2bS2
CvTuhEV35VA5K1slB85ektdSB+qQMUPWU191UScD7WjCO4zJnuXxOR58YOrwTAUu6dTIcs9vEILE
L0cJswM/XGs5Q08aLJl56KauoWtyN7K3NHJqhqTcZ2RnR/irmRQAFOFbpEFrtiAf6Pkl6Xx9VUVG
vs10yhVrCFNAJ4ZxosS9SsKvmhkqm1mSJmHI5Xah6Xh2I6kHSNPmXg4eyx6DgGXBfXQ361SySDYt
qT1WNLuEWmahb+wGYvbLWrHQQ8qYcvGcuMEqboPiKDPpXzs4MXHDQqMjws1ZSW1CmiFomkOfSi6j
scOsNNGx70VSjnk/XtoGCNc11jgAbXsE0MGIKUGfx0wwiJ/YGsY23BsyTbMcSOPWCZV9poWw6p00
3Tc1kxB1Mu+nwfzaBJbhxubSvioPQzUau14pb4d66sGeWtVmNMbrKA6ISVFh7TecZq2PwZ9HOdNJ
2q9GG5j9d1iLaA1jPK1tNmH3nmHHtbf05igJvLTJUH1tZgYyXqLRVVB8M+pEOtL6e0ThKHPt9MlL
oOiUTPkmU8NvvMMG2i6dT+VsRbeRRSGIEbx3emUeiok9Hg0p3vQtrSNTspWM+86lAt1rVWZO6cZS
zCgrp3wuK3zNYxaLRxEsdFrOVRn50yGsRnybsegm0ESdUUuZqEwoYiWDltN6ST0OqXQ/1rKIgKws
KTA3jkVw3xb883GgPCMhQOWk9UvPXHIfRwTWFfTPFl7BJM38nur1TTca+PY2MvDgNON8A7uehqRC
1EIYbFLxlpgUSn/i+UZT9tIwUtfUgCIw9buSlBbOH9hvS/jbAP+goC5yqM+gni7WzXCXSeQxjBJ3
NcYkMthYV7FAIviS9jlSVPwS0vqy1etsn44Kju2FvwvLdEdKwXbDrDQ36viV0JzEbI2QnskwlPgi
nDedQGX1JhMkylK4KVMlQj6jIAmXr1aihlfheDuHk+7NCYSDoGx3KGca0sT2VZRhJ1ioonRX6oCD
DJ0gkJDGVuJNqdb4aqkx9UpRtg5nuTj2Zsex2ZRC4iK+ykvzvdKxQLCchApRx2HiE7upVDyZdAxU
STLrobDXN/zPmSMPm0px8M3DtmuVYVC0KmiX3LnEPW201uBTZwTfGcmURMV6qSxu+8T3t0r5pSEY
7uFH5RUhdR2ZiaF5Tz216r/VpvRuBFq66X1k3Az8XiL0PCvJYXCtp6TSKot5UBRaB7miZpsG4lOo
ZPeyagcbnFE+D5k5r+PezrdjTZRgaNA1JDT7uzonT9NmlpfKGALm2qMfBJ+dWhtgvU4ABU07WMPA
UtaFA7Q5Z7YaAqtPE59kquYDJkWVbedjCkuOCHujqVfWFD+2oUbGI6nv4rr7Oo8tl+K3AfM9ryLt
pEZDefTz0qKloPqUoAgl+7P8PNcRIfyISmDQXykpgGk7O8ArpMJcWwGmKkzgcVHCx0OEOMhIrwdM
2eK6yoCBBgzTI9eM5R0ZYXq8VJibKdNJIUSxRUb2CTMfYNCNwOHXorwKzB0+TmRVyipaRZlZrZPU
vJ0l/WWSe5P2wFYPBQ5vk6njraJqwBebZgBOqdNYaOLylr4Z8SSv67pKN+akGzuC04Q8lGOl+xAo
tYk2fqrekIhxe9jNm+w36npsx2HVUrWB8F/ZJgpBoIH5uGMxAJ97AhmyvcWh+ZOUFbfObO8cCYZB
0w7yoSr7alPq03jTy8dYDCQJftV0DxE5UqLaJOJGMMaBgs8DU/gjtmoa2jkIqFJy0JyYMalJaRrK
mnhNs2pgSVXpByOiWEmv5s9W0FKEDzXt2gz76w7PoVtYiZ5jDMlD6tokVmu/Nk9DSpvgS2W8UyXy
yQOFGS504P44MLZTcTncdtkeoWV5aqpd7hifchsbnLQoPRv6SJW01nVJ6bxDnH47R3W8lVMmFpnK
9Elp0mtshY5Zp433GSlDipnahzmQfAy7chuEIya5gpak4UyJ3TgoTYuBEtj5mJCTxjxYZXaUlSrX
YrUpGpN0vvCuJm/A9dcpnwCzjZsGBnaOO4vU68G9MUfvnYQfCpPm/BKb2SsDAAxUDorHASh+zeee
KUbcNJ4m2a9ItsBplpr8iMkhWAGsQ9U8abwS78IuwcEx08abnAHXIcyJvOjOUyGSHb4avGhj8ZQN
NXVZFixrRqVfVeyXwJp0PYDZjJTRPDe7NrbyDa7jGqlZ5QbjGhl4XTbi48dwJSoxHu43aZhE29zR
c5QL8CJyEBwOoSYq/wuZVDBZIjx16gcqB94Kq/uqV3Kya33l0ihM+6RFvZegJoHBXEJ50LAgCAtt
pyrpsNEMemhySDZO7SWlP2EZeDlvX+WJnbp5B7JhkG24sXWn7NDFfCEf3bqkB29t2uKdZuNbO5m4
JclNjf4wbymnNKerLJUcfO18fh6il5GB710/6reBku1MjUloViUHIvFrI6J163QGP5OfMdrSqe0J
nArA8wQGJXLuulogogMNhu5omxuEqW5TZZewaMGoTLjeW1Ww6XGSw1yiIy1JPlwJgeQ6AZ2uH07W
VovUz37PLxcijkjVsURnkOxlWk7XBrAtODGJ0ab7uedqhzKgjzVRSMbQRATXTdx4fiWFB20DzErG
dggTjCp8LEVxqMxQpCBz48roUjf9nBAvsPqJrsbU9kYeYB0g153bz8ijHIxrjrixHBOLEtK+fq6t
LN/1Ijeoy1TLGn78DSdPjB2xSx6NRPY6e6Y2bmKGjrnSum2mXRWAy6mht6/sES6qFYXBXpIS6d6v
dnZirOuIonrC0dm1aVm1m79bErZ2Y6lj6wp+HomKvsLncZeYhuqVxTbnV7qWcoaqWk3njXoG3E7t
SZ0VkT0bCLYODo6Y5aptGqpKTfzSipB6YsKgwAgkUCqjgtasYnrdmL6nFRQgxQkTKolpUaCSEpfQ
KbnExpkgYFKxjXDBrANL36g1dp42AeMbRFQPMqq0VRGpV+mgS1u7ZQQXq5W/w+9oYz6rY6ZsiM9k
J538ujTGn5ll2/Sujrz1a+Mbbnu4QttIBiHc4FJH7WsYiW4Do5PSGQ50oFd92u50pqXXRtOTH1Wa
k1pTR5OaARLarjz1Zn3ZVz4m0AUcor5Ir6oZFjbsRIvIAfXOLVpyqP1jv4bugu9f0IR0XhM07776
ZE3cKraUfirlrtyG/kC8XG6OcxOq6wJdxtrApvSq48yhp2kPuijhKRssK2bHntf+FJBUizp8VEsv
wDpGc7CAoERPcQlIUOxTMneN6wR2gQ5JxAmQXQnVPMWYZFAmjINikLSbKbYg0RtAIehx7I3dVSdU
C7Ax9PlGMvNmozELc1W1RNhgtcIpQM9AqijTrp8or61VCwRUDDBo1PBESyANuWYDGt0qJKDz+GBt
rREFSdhjL9NV2lbVCbtPI5mcsidngnnKXYBU8D5z1GNSc94qJcZbTaaCeOw2jdQ/RZw+Vw4MgC5z
vY4D5ziMzidjjr8oHQBZdAJ0vfGPi2Vb/+cnlm1SCn1m0LRxZcuJtMHj5AmX6OIQierT2BJ1a8vq
snFZVJZNIXaDM1lX51SNIdH0q6YG3RZjlzIrLbVi4vHHRksShXv0XdAuxeryysbnOgtbkuyZZTH/
HmgtVn5ST2TveXeWz3i20U0mcsE+LN8cLruzrMpZnu2pPaADoSz2Y1Hhm0DV4h8brYlxaGTGX6U4
pMKPw6NcSb6rwY1tdQxgd5La7JbnPl4gVz5Fcmppuw0pmfPeKsHcgGgWh7gsQrFmdf2pryKg+o3Z
HjJ1ZCFO+8Dtn2JW4y2MTdKq91WiZduF0ukkaPdMk1CoYIgumwYb2H8T6Pd6ho1uYgBIC/Ab30dE
WFuC8HO2K/AS8HqfNGuVBa/mbLx94Dvxdqt3Sv7Q6BrRE1wuXIy1LXfRUP5vCc/DVL7//X9e33AC
WEdNW0df2z8X41CusZyqs/B1/dq+/u09b6N2unrNeOfTBLE5D/7iPX8QhMEEC3k0xoh81lKK872A
R1EUnrIcW0PQpKNg/KjfMQAIazqaUKEKxYsByeM/6nfkC4pLsAyWuXBkQRD+b+p3/ixiN2TUsIjY
NRjGqs73aEI6+/X1jiNq/v4/yv9RZpUcp4NVkFY9Q6ix6D4qaYtjhKHfyNl/EFkvxUAfkuB//raf
xK5VoMnlOPBt/uX0DaqL+ViMa0YD/q0BeCRfGQA6jsElqY6HqFzpz7hBvQe7aK+jcFjVsE7c8DQ8
KicC4Ht5NYrIFjo+QPub/6QqVQhG/0m/zM6iaOd3o4wbA3N+vJ9UpZPSEM1DDHBpNRgvlAIfmYuF
M2gjBDah3uyDkPFzq9ooch6shhp6KVvKsCuKr1uFWuxOrNFAtwy6auw0VENBgwMyUe3oWZdFr8zx
1tfll6rMR2iQ0DQ1wvtuFpdYnottuT8AszOncl3FkAaSqIlcXwQZZpuww0cl37lakTF3vNERE620
BUG7tJ/M14rD8rhfWnfxkPjiTW5XA2B22nrTiGa3UEryo9QeHj4WVHdTe23F5jag6h1NF8hyschq
X9mh4xQyr++baoUicdKmdPicJAf5K5ExWRT1d0v5e9eVCeFTC18n8ZWGNage1lvu0pidwcem1FNu
v2xYyMez3kcE7+GxDXbt77S+3xaiFdd7nTmIaNSXNUesLQ+bmjGaou4N5o5MKEKa7aUZXxZoZyo0
tbAo0OlCYBO9ER0rTXmuY1z+8bhAIQ7K0X/CcshD0aYSMkto3gXFlA7kUo5af7tsamdJpmpc1cyN
b0efbRnCaNAm3+w+rlC+8mjZtCw+HipV/GwMJKKkCpu7j76AiOFI/YTov5Zfxa6DE16MEUaYHO9y
lMua32sQvZdV2U7KbTbH9x9HqCYSBr3LYwv8McNtrXsrQ6mhAp6+1R5FTf3HwS5rik4on9thM0ld
c5BkoKHLWlQVuJ7p856gJ+lmy3hcnksjP9g3jGN78vArU9RFjIJPECJZ4LPVNtjaXfF4fqjZUAMm
zKO4EgyDUv1lbbk6CHSr3kDEYdm+bOIXJ3npcM0HjqgErwQzokLGTD152GJigi8h4X3JOrROZZCC
FazEsGJEpy003MFiFR5CtYlmYIqjI2yOlXoE20xWsshnzxL7sFy2C+37vDZ38IMZuP5wvZZnKoW4
ipuisLeNX18ue1Msu/THwojKgkAItfLLs36jMWoqZsPrJy4a36apyJiWHpaHy2IUT3w8/OklqQ5+
lZIXSIcFv5cs6AcEcBg/kU6ydqZTEJfj0l2encXaTw9zH6WHw+xirce9QdUa2gSNibSyWd5iKrO1
KdPu+ePjl7WWUlWvg/CxPCJrzV2H7zI0Ms4XsZ/qMInFsrZsI0xP853XkU66F8ePZeOsQMMxKifd
nJ/+4ZWt/C71Uoao/h/86WUNYVlZPy+rU5AzjVxWl0VlG68hXQaJdMGo/nhiQVCfQdXLxuXxx9OS
nREsyO14vZz55I/Tb+oEcsF+33UhHOGKfvZPuHElqxxvIDQ4LIdmkSM6H+9y0KrWox0J5OP5Wd2c
ae/CSbR65+dDGDHk6p+KiamcGWsnf2LeIz7k/NrlVcvjQmCtPx4ua8u288f98J5c6rLdNKRHhanF
TpOlLQUB3GR/9TEf29RBs2cXZMQbuvNyTWmWG4rL1B4Mod62XpdHsdgki+s1DQngL9sGQV5Y1j4W
P2/LRgblpqFFO4mzkUkSAcflNfkcfpvEwf/le5e3fTxTLO/7eLys/fxVYg8/tqEjCWWH0zDBIa4x
aCcZU+KXRzerkcyxxhLiby4/6z6681h0c8tiEL0ePpgrK8U6ptz1iEBQirXEjSgudYmkkRpoJ/RV
Yo60LGzmCVqc1dsFDv2xkK0eJLdooT8WRF3fm6hEAia+Ry5J2+ZNPLqx6OZykNboiwa1gzdIhHPB
7ywLVXTQHw9/2CZ6vTrBTZjKSnHZE95k/slJzodGWXdTpZJHggg4YNOqwu2w067YMkl94XT0e0mR
T7GwCItMC7QiPa2c9bTp/b1+rSdJcv7OhQVkLbdVpRcYyCYZ7uYjVtiRwempa2alRgXyOIpavDrJ
rPiiv+yzZmDIJlaxpPm+qNsQC0YTc3gbbuc4TL5X9l+XE2Sgdi68Ii8p+yMwIc7IcpZMMQFCMXsd
O3MMDbExNtQtf+tirTp2MCum0X6tGtA2lNJSHdtM6BnWnQJ1SA8+hTE3byNGWKMYnmCRzRSyL/27
qACAtmwTlwMl8qlXjzE73Eizsx/U06DQhZAOB4jmJ7em4jy2jHWnKUggMB+LWklAdWfmDt7zvjIC
9aBImnJezHp3TZY38chKefD57asSAFKozg9V5vfbeMoO/VDeRQoDnEKxiMkB8MPOy7qNdYDtakuu
hvrD7LAsRGN7WMjsH9vkiEBYkubUpQlK+7I4XwHLamQmDIKToXcjNHHMNqQrK7RUIoaEAepQPw1o
qFxLJfTbzkI4PwRYFRsihYieZVQZt5qddW3OKWWystHToWbKt2aUMxJGdHLLYoEwLaCi5WGu9cpu
xv8CJ7+3clRucpQth8SWMKkRa/hAjwQKw3odFtyEGUcgSk/5ZX547MgCYnTenDghAV7xWpumozdq
nNX/2LS88fwZGYUl/Gxm66yaAIBoIzqhSiwwRICavKwi5iE4GfVguHThcSIPDvUJy0sXCNDyop/A
QB9PLK87v2Ueo7dUJG6XbVZVOTsbCCceux1JShbynBOwWB5zsStg8PJszfwdizHxtCXpPF3Wp35S
jP2yaXkSqFYnpvntoZAS+JgVu5d21NVYtrypB9/eYzl+M/qmvuVKoUtXQ8hx/rAbqE6U3fO2tn7H
N7zeqGgY0VrxMiNTpLVMVgIeFQ8/nvh4OOAqv3JQcJL0gkpHzlhacwEolFztFLu/SndAr1rtCJbZ
sDfDU/6OAcDlQL0JveMOQd1DesW04w4lq4MF6LrP7iaQ9SNRdnS72MgeydSSk5zqu2Y41dGVmCWB
agsOU//Yqa99T3FcAsV2k6ibMHnU42slxhnPzaQj8UMLbKrKPbOzACn2GHGQK8lPqLyq8UQJBKJY
31ln/rGV9jYuacZtgO0DmLVon2T7BAO/Gnkyx7U1gXvibi8KcN326xysq032rQrdut11iCSll5r0
Ecd/31p7I0atN12j08qSJ7h/YDsxdP9EtXr1BTG9Hru9Crt3Q1WgDpB2NcL3Vd2WMkKCy9rOkrdm
tidzH0RbooiVfk0pW/ypjm8a+Ut6SQ3p6mQcylcYg1d4g3GLQusE4nog//4ynZo1kemt9kodGIbs
a+nGoCXKV+hddqNr79U35TbfDPvkGSLZY7W216MHIzq81rzew0F8Fd1YGyCT5g2TTtCPe0Jnl4pX
fomYWLaI5VZokBMAz9HWl/YoXcyT1q/Lbqswwm7XhbTy11/gSl7ne5TZDyYlhpvkVroK3qc34vDf
ilN1QuYDfHaTPedk6Zhmf2rztXGlPjTP+vq99ebjvnvxweGtKPHZRS47zDjkUNwctNGzdhiZTjq1
DRtcXWNrTeYWK+cMSNpzG3tReIcih4wtFVMUl/o4oIFRzBCC1yvHcs17zGb1FjqwXtyGsPY/kwuT
ZOza1vO0HgnXEsDtPKh8WuyOFozHDeN6SKpx46IMKZWWBP9LfTxZtw6Hle9NFw3UeLCxTN1EoOzW
kv+kzV4Blg8Bbo8ZuGt96ra4Noaec4tX5WWwHV9aOPNvKqzJFdj4xPHAw+MPMN2nyRpWZjt6LdB4
fx9j/GjeUf6Zv2rlUZ63nwF7xCoQdtIBV8NW/lpKm3LebEJ6UvEPC8IJTiM1nP0ADpnkxcqSjz5D
YVxmrxU8jx+ryT0aD720AsQID7J4AvJOP4hkseFKOvl3AeLBz33uYmqbvjhIQDXxpE6mzKMy88Ep
T6ruySfGXrfpi/KO6JrIhPyFmpv00L+ijIyrE8YajH52FIWVWLsiH0AZQgGHi84wgudKQPUp3+Hj
G6B1eDS/9LfZjf2MTT18BRIqSC5O3P5Sv0fqOdyT5838VfcWuPW7w+2jbHIQw4BUlW1agGPfsYd8
PMmxFpfZS+2g3eaTO0JKyxDsgFSVL4dX6Wt6o28Kl0nag/ocvCUPJJQrauJw/1i1rn+VPFVPyGhu
iQtgn7Dpjka5MmFnptAmntO9fvU43Rn3kqfdxO9421hwkQGeruVvhPzMA3z7TUWuadrVn5B83gJq
OMp7CnTrR0we0N7SW+2hR6/0DdBIFHVbsvKrbt09RCDSi5XiElCG3Y6QoFLWmPUlNNlMIG77l2yP
Hgl5I1YDerSST8GaNvVJVw4EcO8Lf82hF5sM2fJKZfY7rNSVurW9/Nb5jI3wI/DA9ewlL1TAbbAe
jOxrrF5lxNQujSY4ybxxKZPBI2FVnLjdyBVfaR6xYeOJ6/CEMakC/JqQBIzZAO3Jbr4CH2+PW6qV
br/6XnBi5unl3syNiuTXvmk9eU+pYY/pLNJ2WkDNxYRbXVf3nFM4oeMqSdZq4eZcqYEXcQw9JQeU
re3KGyqa0LaM6ONdEhaEx/FzBpteXVloNlysDZqdD31wBzjarXbx5+GyqD8x94qhdPOJztZ4wryv
4NqD3nCCrrqvTtTbHMxHnX3ekWn04LdeUz1oHaHClJ5Gn+Lq9OpuQDjSB3e7eZ+uk5Pzqt8kn2CC
78IvIMONqzHFqP2j+7PzioDP0kVqNBsZ6SqP4NFBJlW0CzX/6oN8tqDOdDE36oYBHGojMgWq/WzG
BP4NTzcHClHLEnma4Bv2YlK0rAViQrKsDYbW5t551ZGpnYnxG0t0Kr0j8Zp0md3863driRCyYDMN
ShtydNGZLrnl5mhblATllsAuOp1gdH5fxLXcHSQt7Q/L2vJE05QQtGV8IyoMVpxBWK3guRJSdL5v
iFzZA8mvecaY5bw6CruWxigrhL06tVRNyIBzEMYugbB4IXGNNC4Txi+mRgwiXh77whjGwiFmQqzq
mYuVjCxclhybUNGy1oZiUvDxuCZps4tC+WgKQ5pSWNOowrhGFgtLYE+XtY9tijC4yXC68XG8iRQu
fhOzZZfpCTPdKlfg48aKtPOD6wBEzcFe/HOQwO3jsG7OLLUzGC0xMEnGeGcQmLaPRSCmgh8PVWHf
g5Xb9RJlW1JKy1q9+P18bERTGZEeBom25JRMvIJkfda9JRzcipDgsrbU8keJKnsZRiXI+e6RA/lb
W1gRlSO2tFNJN+F3ZXWsAbtsdbyL5O5xrKZhP2D8Ihmjs/sIIOHF3LlY/IqbMepgT1ftfMhmIjFa
K+ySKKRFSsHIs6MAdDRwfF4eykOEGoKhkoPzEolV+RAubkxoLR9KDHjINHIhkAcYD0AftZ0W2V4w
i1+81o2nbCoxiU0ROLuxiNfpCeWulm+XiDtgezril/tYfGxDszjtVf+0EPjO6D69K7ChxYNKbpor
i1mPJsypehGIW0J0gmLmGn1Pqydixzq8PW7aJXj8EUxW1f7FMBD1yRK0UKkAs5BP7ZG5b0jLWn2Z
2gSV+QBAZls01JE2tsLMjYWMY0sukzpuajT/S4pt+YGXxcdDuDIRB8nEUGZMvvy8ipjaSxPqelep
HAPpBNzcabIJ7yypw/NCxJCNUrBC4U2sM4e6R61qffeH3OeSIzw/tuUxO6NV/jcZ9x+ScY6ikYT5
1zi9fyTw/lZ8+5uLEXn2JXr9MTF3fv/3vJxlXji4c5J4s01NJY1G6ut7Xs6yLhTFsh1L4ERw7xTM
PXFJhn//H80m+wbAyXYE8EinauSPxBxP2bKjUV3LLWapKk/9F2A98fU/4HMMNBek5nRNQJ4MzdTE
kf+YmZuUPFHCaZQ9OICrsqQk75sxwxkPtnJDsRbdvgyqPkZT7ivvVN+vmv4eDtZKnt9UCeq27DM+
hqiWxQi1b4bSk6PrtnpWQKe30c0Pp/nmnMH7W95lNwj2WhKD8Cn/Ym9RDKJj5/SojNz/vLeFYZow
agL2dpQPSmhTD5yVNyBr5pWvP08MTZs+EalsLDI8KZPvLKJa5Xw12b1XSe0XNcP4RFe9mUhZgGAX
sfhlRMR90Mz9pBONHWgFixAHnXDlXFvae8NcI2FWEPrXfEwFHQ4NqBvk5Y34uMmkiFRs4xVUbW/1
qvgqXkP5L5MkoMF8XWEQ6HWQHM34DvBVlANg53wC2rdsEi8RH1mVyk7sgV2SKOOjBoNkgN0hb/sK
dOaPnSKptxb7JHZw2WHyaoWM5xRjGrHjER8XVNOKVN7ah2nSiOmYw/CRwlOxXrHeDL7rU+anZtD3
MQ6PbPlavCakYLxGHhnyVp5GloSKjreIlwZsi1V3qnKMoAjujXuVAtoKSlZVA6ji3XrkeHLmv5gN
OkvxGVGRr6uwPPj4UlS8t0KRGaCJYq+GzLkUH6fGx65vPLqprXhFEg23Fa8uQGe74muHVv6m2kCS
ErzzdLRAR13Yo1ARmPMBfMeyX3x5pVD5+P1Qxfc1+B5ZjrJrAWrlvSee0rVw+X/0DPlLg+efSpX/
cgB8jl4S3kFoJU6POHbx5eIYdLThFQb3Yl2cQl+s81yD/s0p1nHyILNrk5Y/6vIIipniJbBp+A8F
MsrSAPU2twYFJibr1NPE6oNvZms54nJoDxHiYdNoKTnAHYQXNAojX6y1J5lZN9XyeCBS2wDXHTJT
1+F0w3ZwPKI+ETE3Besy0jzelvTbKMGag48TH6Gy7rTWKu8iV+yVqSruP95KXaFbxTqOt1ju4Sjh
sy6eq8THoloVRH1R9UjFbaS093KKwpy3iz0Qb8N+1nQ+K5q0SZCP9dW07R2802NKoLNYWWEb7EKt
xMcRfjmzRMxcZHACr/2YuXWX3I0STo2B1K5SrXxJmmyTKubKmbQbP0sfh9LE9AXf+Nw2CNNax2ay
LinMceegc1tACFaoXnYk/9a53SmrCT8h6mVWqm0/JPmz2mB6Buce35XYJjwgD1+JY6+zECSoGXDD
SEp4kyrapulxmEHIrA3tLXlCiELNpitmzqB2TSMW/H8maPk+GBB6E2pFkJvcdu/UJb03Xdo2/+hX
xLNLm/xQ/L+96N9/0Hehy7lX/lp0QDzYg4D24cdelUHjD73FH7u07O+/+4T0lcPq3tDQaM4Fajq6
CIveQ/yhuMFXPvj+tOTgwa2gdqFfOT9Pp8so4IdT9K9Owr8/vvPZ/Pev+dMR/EuZEFlCUI1/Gpks
u/TPJ+Gnj/jhJKgXjCZ0FSEK6D3++MAfT4JtXtg6AxKV03D+++1OgqPav3wWUDfZQttk/HT4jnJh
M6xQVcZYy9/5ovudrgFtITD/0kWgOBemgpsAgNXzRQAu8MeLQDGMCwPcKQ3273f8sqCw/tLhm/qF
okMjMZzv9wCytz8fvnqhCr0c4+zf7+rXGRT/0uFr+oXKBILJCDMM8fdTOyj0gjQRhsOFtlweXB18
4W90D0BflBn6/9pZsC9oBg2hbPzLs2DL3CMaXYVMOyH+frtLQdXozX71LDgX9IhIMpnzLn8/twSK
eWEaBspN43wafrtrQUFU+qsnQafRd2yZWfD5UuDa+rE9gICPdpVGEf7y8nc+67/RDcHk3fzVs6Br
F8DkTcIU5vksoFT98SxQ73nBGVAU7fe7BnQg+L96ETgXYtxnEa35y8NnYESLCfneQaMr/n67ntHg
6v3Vk2BdqIYOJBgh3/LHT/2na2AZOVh0jrCdlr/lC3+jO8FavCF+tWegNTAIi6l/fRJkRkeCp2z+
hl0C6L1fvQb0CwDWmBXo597/5xkCyJYLBo90jPZv1xBYjNp+8fB15QKrEcXQtO/3+U+3gMUECmO8
cyT3dxsW/XMVyX87P9RVUfcB3fpf9IWKbNELiOGz/L2h/N1aANv+3kF9lNL8tyeBSAFzQ8tUte8D
gp+6Qsu40OkoCZszbhB/v9+AQEzyf/1OMFVbdYzvBylurR87A4s7heyELKYKy99v1xwqivzLzaFq
Xxhi9KtqP10ENqNCmzorohHnbuK3O3xNU359sqhwqcOkZtz3l50hQTONaJFj/V/mzm23bSMIw6/i
JxB4kkjeBCgSoHZbJ0UPCXK5kViLsEwapBxHffp+y11K3BWTNB5dLJObRPZPcjU7h39mdnIbRhn9
G5BHgN9qfTWBQkgIFlH6xfiWXshcpAvy2SkDYmyEEJwsJDEiLFQIpB7TFU0rUWZlweNNdJxE5yFH
IFqNER6BmuWx+WpeLgtZtkiLkpxiZmliTy3GcUbIrGefZWbBA9oLzJ3JxO+fLGKmAjAHA6vn2YMV
yWTI41MYHZaDFGeFmDfKogVNrChW+myHy/v6ixJykSB6WZx8h7BWIYk58FqoCtgERZ7lJfTZ/Cos
8ZJpkCnDzaVkZYEWF0WKOMtRnlGGweSf4WJvTXdEmZJxiiK4dvt5cAqR5m89cEu0CnjLaZLSSBBZ
ifeM48An5+RUdK1KYEwyNXKJiWJfbhAwi8xnwzPQE6/05UWMJWazILMIW2v2ihG7gMxCjHMjTaqk
xIWMlWfS1HxSpVjCn7FCGccNDFdw/BnecixeBUhU+mEgUE5Zg6lGIKtQlHiJ7AmzCuHtCErVpKuQ
LRcoFuLCicRPV2FVLjhbjIo3UoxhykKSkV0R6kU8BcbDLjnXweoFzzoQQDKiDEdBD1ocrtC0YxIR
4QpXQZcyasWw9MJnCiPziNybnhY4XMYvDUgrcpZCLLYNUMWpnhqHMzRcnm3M8RaLZRbnmIfhCi9k
QCtKA8dshT6gwpXzZ8xb+haShLxOt5OUDm0LzBQD/zCbyA6g8SPPl/OZZuqA9bRVyAXrH4THJsYc
jyHVA2g7svb5MSzy9AFxE/UGaJzEZl2Cs4xUTKx4aJGvrLMLCRxETu3NuN+nlhE6jbokzTLZnRKg
LFCyLl0FJB6WgAHd83FTHCEMFOjokb+hKQT8Al0wI5OCdLFipFGM8TdS4HkGmllHQhgddfKluWFI
tpHqe2OwBXETtrFIiQfsIpzFTUQU5vQxaIThCk8WaOCQygJ8ErnUkjPAZjVCDpuI0mS8hl2E4HYE
TSO6rUS0I9IlZadoPdJq5jV9Vk17EEx31hOWR70Z2I5IiWiEq6CTr0xII63ou4nLBaYRbxydOVxG
6gJSCIQxmfj1cwImXXNHZDh+yVPjaCqQyEaRjAtPFawSccKV9yfZBjtgC9Q9FwkFQTJOl26OuiC4
VcCDk5oFwuaCo0lHB+iMTsNdLtKCtjmC5+EKLuOoiSTzUC83jhDsGfFnhh9w3PHOXkAWcEWIqmye
PyhdkIqLDzSdCDsQabZsuHwXifJdJp3D01izaZRPUKsQ2XBWJAURYSN//NcnIQ1zX66owxqu4OIE
2jQLsULE9+H9aEy1W91TiMSMMM5UZ5Q/XoLxPyTl2ADFkXW7zdD6VFf9XIfU135gbPo5/9w2/Nxs
aHOls8n5Qd0JZe5dDT1Z+t+vnI6eIRSYfDiGBsN97K/bFzy/tXOv8a3G/7yuq0516+1h+OBgH9Mc
QvzTTn1SD2ralcXmQzJPT3J2xvHRK/wOcH/v4WoSWozb1f+2jQtc6pIYOfC9ahhdPiLpr9EUokuR
XzPl8Z+2a9yWclPaK8Zud22nNu30qU29rBy5aar1vl4/7R3woRxTCv6m2qln1VVTZFPkJ0a2R3F/
p5P/uAlfJt0cQtTVG1cKTWGa9Pl/rtruzpUUW+0kRb5mxet6uuKx6TuTAt9s1NYRwNiU5Ihxd7u6
aWt3R5pyDzF0s6mVp0VMw4EYuX12xcLUJEhhfz3XTSbNLQYG4Gl9f3DkwuSOpdC/MeetP1tm0+op
xb5VdeNoD5INlzAvt6o77FSzmS6HTZnJH7nv1Xr71Ff7vSPTtoJLjF+vt/WdcjusTV2QHBpb0Ld7
R7ITk0WSY/d9zd/HR0c3Udyo8xOXQG+fOh9ap7/E0G2z93RIos9+kSO/rT51yvOebKZC+tBvq8/K
tVu25VAO/Hx1rR4e+23tmnVLrl8C/5eq6ytHU8Grabb2EuC31Zd67ZgxwHWp+SXAPzIpd0Qa4gPD
LIqh9dFCV69V12Ip3c1pEt2XucEbxSHnPrymxqTw75hYOKKYsAlpGf/DHB7hxEgTLvZbsce7+x0e
iRvVwCro7Ib4iTkv1z/EYujTlAL/XjVNf9h9Vl6YkBj6TQr/x7bdVFc3/ZltM00lUvg/mXU1L4i2
AusyNzgXRMvLSeH/YvWrvq8cl8ImQeTYX9yo0vZwSHH/3qvtKNB689i6Tyns+6p7wLI5yJjiCyjC
9zWRjSfeKUTQBRTJB4Xdae727ta0CQzpinyo+v3V7MObMwvE+HW/bhvObHfW3HBtYuyvD5n6Zgg8
xzQds9Xn/NN4Hs7cr7nkmv6J9a5S3av/AAAA//8=</cx:binary>
              </cx:geoCache>
            </cx:geography>
          </cx:layoutPr>
        </cx:series>
      </cx:plotAreaRegion>
    </cx:plotArea>
  </cx:chart>
  <cx:spPr>
    <a:ln>
      <a:noFill/>
    </a:ln>
  </cx:spPr>
  <cx:fmtOvrs>
    <cx:fmtOvr idx="2">
      <cx:spPr>
        <a:solidFill>
          <a:schemeClr val="bg1">
            <a:lumMod val="85000"/>
          </a:schemeClr>
        </a:solidFill>
      </cx:spPr>
    </cx:fmtOvr>
    <cx:fmtOvr idx="1">
      <cx:spPr>
        <a:solidFill>
          <a:schemeClr val="accent1">
            <a:lumMod val="40000"/>
            <a:lumOff val="60000"/>
          </a:schemeClr>
        </a:solidFill>
      </cx:spPr>
    </cx:fmtOvr>
    <cx:fmtOvr idx="0">
      <cx:spPr>
        <a:solidFill>
          <a:schemeClr val="accent1"/>
        </a:solidFill>
      </cx:spPr>
    </cx:fmtOvr>
  </cx:fmtOvrs>
</cx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6CB1B2-A772-4FE1-8734-FD393749C453}" type="datetimeFigureOut">
              <a:rPr lang="en-US" smtClean="0"/>
              <a:t>4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786DB-46C2-4715-879D-703947BEFF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8394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EBFEA5-92FB-46D7-B97B-85ED574D98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593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AB9E94-8349-47F1-B922-ECB05895E9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9534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1786DB-46C2-4715-879D-703947BEFF1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567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AB9E94-8349-47F1-B922-ECB05895E9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79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ACCB0E35-0819-4E2E-B7E3-B7483404CD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3E42182-9BCC-EA43-8F60-B2D72BC8A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837678"/>
            <a:ext cx="10972800" cy="2724797"/>
          </a:xfrm>
        </p:spPr>
        <p:txBody>
          <a:bodyPr anchor="ctr">
            <a:normAutofit/>
          </a:bodyPr>
          <a:lstStyle>
            <a:lvl1pPr>
              <a:defRPr sz="54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1D92C2-FFA6-5F45-8B64-DE2D66449E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4589463"/>
            <a:ext cx="109728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6A44B7-E638-7549-9798-03DBCD86AE8D}"/>
              </a:ext>
            </a:extLst>
          </p:cNvPr>
          <p:cNvSpPr/>
          <p:nvPr userDrawn="1"/>
        </p:nvSpPr>
        <p:spPr>
          <a:xfrm>
            <a:off x="0" y="6399296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8D1B40-51F9-0B49-A63E-C21EFF5374CB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913BB93-23A5-8146-9B9E-6666B50EF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4A33DBF-523F-487E-F6F7-E5DEC7532C59}"/>
              </a:ext>
            </a:extLst>
          </p:cNvPr>
          <p:cNvSpPr/>
          <p:nvPr userDrawn="1"/>
        </p:nvSpPr>
        <p:spPr>
          <a:xfrm>
            <a:off x="7223760" y="141316"/>
            <a:ext cx="2352502" cy="27432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98278934-0A2B-2954-9186-3714F2788A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83722" y="380975"/>
            <a:ext cx="1966368" cy="774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071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787A2F44-436B-445D-A8BE-6803DD8946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D6DF934-BE9E-674B-89BB-9F85225D2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942" y="458703"/>
            <a:ext cx="11825056" cy="1231985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19420-E610-9442-BD7A-322F6D60DB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21942" y="1825625"/>
            <a:ext cx="5760720" cy="4351338"/>
          </a:xfrm>
        </p:spPr>
        <p:txBody>
          <a:bodyPr/>
          <a:lstStyle>
            <a:lvl2pPr marL="457200">
              <a:defRPr sz="2800"/>
            </a:lvl2pPr>
            <a:lvl3pPr marL="685800">
              <a:defRPr sz="2800"/>
            </a:lvl3pPr>
            <a:lvl4pPr marL="914400">
              <a:defRPr sz="2800"/>
            </a:lvl4pPr>
            <a:lvl5pPr marL="1143000"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B8D4B50-B204-4315-B6DA-9F8BC9CA7A89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286278" y="1825625"/>
            <a:ext cx="5760720" cy="4351338"/>
          </a:xfrm>
        </p:spPr>
        <p:txBody>
          <a:bodyPr/>
          <a:lstStyle>
            <a:lvl2pPr marL="457200">
              <a:defRPr sz="2800"/>
            </a:lvl2pPr>
            <a:lvl3pPr marL="685800">
              <a:defRPr sz="2800"/>
            </a:lvl3pPr>
            <a:lvl4pPr marL="914400">
              <a:defRPr sz="2800"/>
            </a:lvl4pPr>
            <a:lvl5pPr marL="1143000"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A56EE4-F27A-4246-8511-86A52969A670}"/>
              </a:ext>
            </a:extLst>
          </p:cNvPr>
          <p:cNvSpPr/>
          <p:nvPr userDrawn="1"/>
        </p:nvSpPr>
        <p:spPr>
          <a:xfrm>
            <a:off x="0" y="0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6C90A9-5DC2-4631-B11C-0B1955B00B16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DCABF1A-E250-4F1C-9D40-51126463A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523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AB4B9C4-FB74-47E2-8AA2-38C02DAAE6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D6DF934-BE9E-674B-89BB-9F85225D2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942" y="458703"/>
            <a:ext cx="11825056" cy="1231985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19420-E610-9442-BD7A-322F6D60DB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21942" y="1825625"/>
            <a:ext cx="5760720" cy="4351338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>
              <a:defRPr sz="2800"/>
            </a:lvl2pPr>
            <a:lvl3pPr marL="685800">
              <a:defRPr sz="2800"/>
            </a:lvl3pPr>
            <a:lvl4pPr marL="914400">
              <a:defRPr sz="2800"/>
            </a:lvl4pPr>
            <a:lvl5pPr marL="1143000"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B8D4B50-B204-4315-B6DA-9F8BC9CA7A89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286278" y="1825625"/>
            <a:ext cx="5760720" cy="4351338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>
              <a:defRPr sz="2800"/>
            </a:lvl2pPr>
            <a:lvl3pPr marL="685800">
              <a:defRPr sz="2800"/>
            </a:lvl3pPr>
            <a:lvl4pPr marL="914400">
              <a:defRPr sz="2800"/>
            </a:lvl4pPr>
            <a:lvl5pPr marL="1143000"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48532D-84A6-EC4C-9AAB-20C62F4F029C}"/>
              </a:ext>
            </a:extLst>
          </p:cNvPr>
          <p:cNvSpPr/>
          <p:nvPr userDrawn="1"/>
        </p:nvSpPr>
        <p:spPr>
          <a:xfrm>
            <a:off x="0" y="0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5CC7E6-52F1-4BD3-B1BE-E7A00AA00B86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972BF48-38C7-4730-8157-8BBDD0069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5291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67D5630-B594-4FC0-A985-B60364829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D6DF934-BE9E-674B-89BB-9F85225D2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942" y="458703"/>
            <a:ext cx="11825056" cy="1231985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F5E861-BF54-2F4E-8E31-9AF181E047D3}"/>
              </a:ext>
            </a:extLst>
          </p:cNvPr>
          <p:cNvSpPr/>
          <p:nvPr userDrawn="1"/>
        </p:nvSpPr>
        <p:spPr>
          <a:xfrm>
            <a:off x="0" y="0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106BAB-95F9-4F65-93C4-91B093C88080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131803C-448F-4AC4-979E-EB20E2C0B3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3353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9692097D-F5CE-4C5E-9FD3-2A4829F991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EB9CF01-6E62-5945-90EB-24EF06FA1128}"/>
              </a:ext>
            </a:extLst>
          </p:cNvPr>
          <p:cNvSpPr/>
          <p:nvPr userDrawn="1"/>
        </p:nvSpPr>
        <p:spPr>
          <a:xfrm>
            <a:off x="0" y="6399296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207EA6-F267-4B64-9B30-463326A50A36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8E64FCA-288D-442F-B963-F61EA1DFD8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65E613A-DF82-6B12-0468-1E71F50465BF}"/>
              </a:ext>
            </a:extLst>
          </p:cNvPr>
          <p:cNvSpPr/>
          <p:nvPr userDrawn="1"/>
        </p:nvSpPr>
        <p:spPr>
          <a:xfrm>
            <a:off x="7223760" y="141316"/>
            <a:ext cx="2352502" cy="27432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EPA logo">
            <a:extLst>
              <a:ext uri="{FF2B5EF4-FFF2-40B4-BE49-F238E27FC236}">
                <a16:creationId xmlns:a16="http://schemas.microsoft.com/office/drawing/2014/main" id="{EAB47D8B-98CE-DA89-061C-051C52DB23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83722" y="380975"/>
            <a:ext cx="1966368" cy="774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620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and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EE16CC3-79EB-C257-018C-7C30CA6CC03E}"/>
              </a:ext>
            </a:extLst>
          </p:cNvPr>
          <p:cNvSpPr/>
          <p:nvPr userDrawn="1"/>
        </p:nvSpPr>
        <p:spPr>
          <a:xfrm>
            <a:off x="0" y="0"/>
            <a:ext cx="3248526" cy="6858000"/>
          </a:xfrm>
          <a:prstGeom prst="rect">
            <a:avLst/>
          </a:prstGeom>
          <a:solidFill>
            <a:srgbClr val="0230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7D7355-C4D0-1F4D-A365-E4AF1D8FE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LIBERATIVE //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771307-5F5C-D847-B837-8C60542C4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EFF75-79D2-EE46-877B-299D1510E68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B04801C-3319-AC43-9484-8377A4F8F2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5272" y="2929155"/>
            <a:ext cx="2454181" cy="1002552"/>
          </a:xfrm>
        </p:spPr>
        <p:txBody>
          <a:bodyPr lIns="0" rIns="0" anchor="b">
            <a:noAutofit/>
          </a:bodyPr>
          <a:lstStyle>
            <a:lvl1pPr algn="l">
              <a:defRPr sz="4500" b="0" i="0" cap="all" baseline="0">
                <a:solidFill>
                  <a:schemeClr val="bg1"/>
                </a:solidFill>
                <a:latin typeface="Sagona ExtraLight" panose="02020303050505020204" pitchFamily="18" charset="0"/>
              </a:defRPr>
            </a:lvl1pPr>
          </a:lstStyle>
          <a:p>
            <a:r>
              <a:rPr lang="en-US"/>
              <a:t>TITLE GOE HER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81E455-9E6F-1B48-A537-F86699963276}"/>
              </a:ext>
            </a:extLst>
          </p:cNvPr>
          <p:cNvCxnSpPr>
            <a:cxnSpLocks/>
          </p:cNvCxnSpPr>
          <p:nvPr userDrawn="1"/>
        </p:nvCxnSpPr>
        <p:spPr>
          <a:xfrm>
            <a:off x="392623" y="1342197"/>
            <a:ext cx="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EPA logo">
            <a:extLst>
              <a:ext uri="{FF2B5EF4-FFF2-40B4-BE49-F238E27FC236}">
                <a16:creationId xmlns:a16="http://schemas.microsoft.com/office/drawing/2014/main" id="{76BD17C4-CAE4-4401-AAB0-D37C6FFE29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5150" y="7144"/>
            <a:ext cx="1466850" cy="58102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62DFD1-09C0-6845-8219-0846F32ED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8B7BE0-1B3E-4E3C-9F79-889ECE1D124E}" type="datetime1">
              <a:rPr lang="en-US" smtClean="0"/>
              <a:t>4/10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7286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62DFD1-09C0-6845-8219-0846F32ED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0DC9A-8668-4A36-98C0-A08276DF50EC}" type="datetime1">
              <a:rPr lang="en-US" smtClean="0"/>
              <a:t>4/1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7D7355-C4D0-1F4D-A365-E4AF1D8FE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LIBERATIVE //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771307-5F5C-D847-B837-8C60542C4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EFF75-79D2-EE46-877B-299D1510E68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B04801C-3319-AC43-9484-8377A4F8F2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623" y="339645"/>
            <a:ext cx="11369068" cy="1002552"/>
          </a:xfrm>
        </p:spPr>
        <p:txBody>
          <a:bodyPr lIns="0" rIns="0" anchor="b">
            <a:noAutofit/>
          </a:bodyPr>
          <a:lstStyle>
            <a:lvl1pPr algn="l">
              <a:defRPr sz="4500" b="0" i="0" cap="all" baseline="0">
                <a:solidFill>
                  <a:schemeClr val="accent4">
                    <a:lumMod val="75000"/>
                  </a:schemeClr>
                </a:solidFill>
                <a:latin typeface="Sagona ExtraLight" panose="02020303050505020204" pitchFamily="18" charset="0"/>
              </a:defRPr>
            </a:lvl1pPr>
          </a:lstStyle>
          <a:p>
            <a:r>
              <a:rPr lang="en-US"/>
              <a:t>TITLE GOE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D67D640-AB06-EE4B-868D-F46A30705F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2624" y="1507066"/>
            <a:ext cx="11369070" cy="4849283"/>
          </a:xfrm>
        </p:spPr>
        <p:txBody>
          <a:bodyPr lIns="0" r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latin typeface="+mj-lt"/>
              </a:defRPr>
            </a:lvl1pPr>
            <a:lvl2pPr marL="457200" indent="0">
              <a:lnSpc>
                <a:spcPct val="100000"/>
              </a:lnSpc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81E455-9E6F-1B48-A537-F86699963276}"/>
              </a:ext>
            </a:extLst>
          </p:cNvPr>
          <p:cNvCxnSpPr>
            <a:cxnSpLocks/>
          </p:cNvCxnSpPr>
          <p:nvPr userDrawn="1"/>
        </p:nvCxnSpPr>
        <p:spPr>
          <a:xfrm>
            <a:off x="392623" y="1342197"/>
            <a:ext cx="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CF93E56-30EE-384E-9A8A-090C645582DB}"/>
              </a:ext>
            </a:extLst>
          </p:cNvPr>
          <p:cNvCxnSpPr>
            <a:cxnSpLocks/>
          </p:cNvCxnSpPr>
          <p:nvPr userDrawn="1"/>
        </p:nvCxnSpPr>
        <p:spPr>
          <a:xfrm>
            <a:off x="392623" y="1405468"/>
            <a:ext cx="11369068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EPA logo">
            <a:extLst>
              <a:ext uri="{FF2B5EF4-FFF2-40B4-BE49-F238E27FC236}">
                <a16:creationId xmlns:a16="http://schemas.microsoft.com/office/drawing/2014/main" id="{A43B4E00-88C4-4299-98A0-265FC69F18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5150" y="7144"/>
            <a:ext cx="1466850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unnel chart&#10;&#10;Description automatically generated">
            <a:extLst>
              <a:ext uri="{FF2B5EF4-FFF2-40B4-BE49-F238E27FC236}">
                <a16:creationId xmlns:a16="http://schemas.microsoft.com/office/drawing/2014/main" id="{8EE1861B-F7C8-4B0C-9D24-CC08FEC329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02A74D-ABC9-DA43-B9E5-273F903F2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99966"/>
            <a:ext cx="10972800" cy="767821"/>
          </a:xfrm>
        </p:spPr>
        <p:txBody>
          <a:bodyPr>
            <a:normAutofit/>
          </a:bodyPr>
          <a:lstStyle>
            <a:lvl1pPr>
              <a:defRPr sz="40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DB64E6-AD2A-2943-A9A1-E2D88AA3EA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009592"/>
            <a:ext cx="109728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DED7CC-85BC-D54C-939E-106CFC6D71D5}"/>
              </a:ext>
            </a:extLst>
          </p:cNvPr>
          <p:cNvSpPr/>
          <p:nvPr userDrawn="1"/>
        </p:nvSpPr>
        <p:spPr>
          <a:xfrm>
            <a:off x="0" y="6399296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28044C-128C-4306-9321-1C17BE24ADF7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EEE35A3-B17E-4B49-A9E0-ED7B97BBD2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492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787A2F44-436B-445D-A8BE-6803DD8946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D6DF934-BE9E-674B-89BB-9F85225D2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942" y="458703"/>
            <a:ext cx="11825056" cy="1231985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19420-E610-9442-BD7A-322F6D60DB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21942" y="1825625"/>
            <a:ext cx="5760720" cy="4351338"/>
          </a:xfrm>
        </p:spPr>
        <p:txBody>
          <a:bodyPr/>
          <a:lstStyle>
            <a:lvl2pPr marL="457200">
              <a:defRPr sz="2800"/>
            </a:lvl2pPr>
            <a:lvl3pPr marL="685800">
              <a:defRPr sz="2800"/>
            </a:lvl3pPr>
            <a:lvl4pPr marL="914400">
              <a:defRPr sz="2800"/>
            </a:lvl4pPr>
            <a:lvl5pPr marL="1143000"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B8D4B50-B204-4315-B6DA-9F8BC9CA7A89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286278" y="1825625"/>
            <a:ext cx="5760720" cy="4351338"/>
          </a:xfrm>
        </p:spPr>
        <p:txBody>
          <a:bodyPr/>
          <a:lstStyle>
            <a:lvl2pPr marL="457200">
              <a:defRPr sz="2800"/>
            </a:lvl2pPr>
            <a:lvl3pPr marL="685800">
              <a:defRPr sz="2800"/>
            </a:lvl3pPr>
            <a:lvl4pPr marL="914400">
              <a:defRPr sz="2800"/>
            </a:lvl4pPr>
            <a:lvl5pPr marL="1143000"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7A56EE4-F27A-4246-8511-86A52969A670}"/>
              </a:ext>
            </a:extLst>
          </p:cNvPr>
          <p:cNvSpPr/>
          <p:nvPr userDrawn="1"/>
        </p:nvSpPr>
        <p:spPr>
          <a:xfrm>
            <a:off x="0" y="0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16C90A9-5DC2-4631-B11C-0B1955B00B16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DCABF1A-E250-4F1C-9D40-51126463A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6575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0AB4B9C4-FB74-47E2-8AA2-38C02DAAE6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D6DF934-BE9E-674B-89BB-9F85225D2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942" y="458703"/>
            <a:ext cx="11825056" cy="1231985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19420-E610-9442-BD7A-322F6D60DB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21942" y="1825625"/>
            <a:ext cx="5760720" cy="4351338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>
              <a:defRPr sz="2800"/>
            </a:lvl2pPr>
            <a:lvl3pPr marL="685800">
              <a:defRPr sz="2800"/>
            </a:lvl3pPr>
            <a:lvl4pPr marL="914400">
              <a:defRPr sz="2800"/>
            </a:lvl4pPr>
            <a:lvl5pPr marL="1143000"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B8D4B50-B204-4315-B6DA-9F8BC9CA7A89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286278" y="1825625"/>
            <a:ext cx="5760720" cy="4351338"/>
          </a:xfrm>
        </p:spPr>
        <p:txBody>
          <a:bodyPr/>
          <a:lstStyle>
            <a:lvl1pPr marL="0" indent="0">
              <a:buFontTx/>
              <a:buNone/>
              <a:defRPr b="1"/>
            </a:lvl1pPr>
            <a:lvl2pPr marL="457200">
              <a:defRPr sz="2800"/>
            </a:lvl2pPr>
            <a:lvl3pPr marL="685800">
              <a:defRPr sz="2800"/>
            </a:lvl3pPr>
            <a:lvl4pPr marL="914400">
              <a:defRPr sz="2800"/>
            </a:lvl4pPr>
            <a:lvl5pPr marL="1143000">
              <a:defRPr sz="2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48532D-84A6-EC4C-9AAB-20C62F4F029C}"/>
              </a:ext>
            </a:extLst>
          </p:cNvPr>
          <p:cNvSpPr/>
          <p:nvPr userDrawn="1"/>
        </p:nvSpPr>
        <p:spPr>
          <a:xfrm>
            <a:off x="0" y="0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5CC7E6-52F1-4BD3-B1BE-E7A00AA00B86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972BF48-38C7-4730-8157-8BBDD0069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726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67D5630-B594-4FC0-A985-B60364829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D6DF934-BE9E-674B-89BB-9F85225D2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942" y="458703"/>
            <a:ext cx="11825056" cy="1231985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F5E861-BF54-2F4E-8E31-9AF181E047D3}"/>
              </a:ext>
            </a:extLst>
          </p:cNvPr>
          <p:cNvSpPr/>
          <p:nvPr userDrawn="1"/>
        </p:nvSpPr>
        <p:spPr>
          <a:xfrm>
            <a:off x="0" y="0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106BAB-95F9-4F65-93C4-91B093C88080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131803C-448F-4AC4-979E-EB20E2C0B3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95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9692097D-F5CE-4C5E-9FD3-2A4829F991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DEB9CF01-6E62-5945-90EB-24EF06FA1128}"/>
              </a:ext>
            </a:extLst>
          </p:cNvPr>
          <p:cNvSpPr/>
          <p:nvPr userDrawn="1"/>
        </p:nvSpPr>
        <p:spPr>
          <a:xfrm>
            <a:off x="0" y="6399296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207EA6-F267-4B64-9B30-463326A50A36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8E64FCA-288D-442F-B963-F61EA1DFD8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E65E613A-DF82-6B12-0468-1E71F50465BF}"/>
              </a:ext>
            </a:extLst>
          </p:cNvPr>
          <p:cNvSpPr/>
          <p:nvPr userDrawn="1"/>
        </p:nvSpPr>
        <p:spPr>
          <a:xfrm>
            <a:off x="7223760" y="141316"/>
            <a:ext cx="2352502" cy="27432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EAB47D8B-98CE-DA89-061C-051C52DB23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83722" y="380975"/>
            <a:ext cx="1966368" cy="774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1023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62DFD1-09C0-6845-8219-0846F32ED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90DC9A-8668-4A36-98C0-A08276DF50EC}" type="datetime1">
              <a:rPr lang="en-US" smtClean="0"/>
              <a:t>4/1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7D7355-C4D0-1F4D-A365-E4AF1D8FE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LIBERATIVE // INTERNAL USE ONL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771307-5F5C-D847-B837-8C60542C4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FEFF75-79D2-EE46-877B-299D1510E68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B04801C-3319-AC43-9484-8377A4F8F25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2623" y="339645"/>
            <a:ext cx="11369068" cy="1002552"/>
          </a:xfrm>
        </p:spPr>
        <p:txBody>
          <a:bodyPr lIns="0" rIns="0" anchor="b">
            <a:noAutofit/>
          </a:bodyPr>
          <a:lstStyle>
            <a:lvl1pPr algn="l">
              <a:defRPr sz="4500" b="0" i="0" cap="all" baseline="0">
                <a:solidFill>
                  <a:schemeClr val="accent4">
                    <a:lumMod val="75000"/>
                  </a:schemeClr>
                </a:solidFill>
                <a:latin typeface="Sagona ExtraLight" panose="02020303050505020204" pitchFamily="18" charset="0"/>
              </a:defRPr>
            </a:lvl1pPr>
          </a:lstStyle>
          <a:p>
            <a:r>
              <a:rPr lang="en-US"/>
              <a:t>TITLE GOE HE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D67D640-AB06-EE4B-868D-F46A30705F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2624" y="1507066"/>
            <a:ext cx="11369070" cy="4849283"/>
          </a:xfrm>
        </p:spPr>
        <p:txBody>
          <a:bodyPr lIns="0" rIns="0" anchor="t"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latin typeface="+mj-lt"/>
              </a:defRPr>
            </a:lvl1pPr>
            <a:lvl2pPr marL="457200" indent="0">
              <a:lnSpc>
                <a:spcPct val="100000"/>
              </a:lnSpc>
              <a:buNone/>
              <a:defRPr sz="1600">
                <a:latin typeface="+mj-lt"/>
              </a:defRPr>
            </a:lvl2pPr>
            <a:lvl3pPr marL="914400" indent="0">
              <a:lnSpc>
                <a:spcPct val="100000"/>
              </a:lnSpc>
              <a:buNone/>
              <a:defRPr sz="1600">
                <a:latin typeface="+mj-lt"/>
              </a:defRPr>
            </a:lvl3pPr>
            <a:lvl4pPr marL="1371600" indent="0">
              <a:lnSpc>
                <a:spcPct val="100000"/>
              </a:lnSpc>
              <a:buNone/>
              <a:defRPr sz="1600">
                <a:latin typeface="+mj-lt"/>
              </a:defRPr>
            </a:lvl4pPr>
            <a:lvl5pPr marL="1828800" indent="0">
              <a:lnSpc>
                <a:spcPct val="100000"/>
              </a:lnSpc>
              <a:buNone/>
              <a:defRPr sz="16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81E455-9E6F-1B48-A537-F86699963276}"/>
              </a:ext>
            </a:extLst>
          </p:cNvPr>
          <p:cNvCxnSpPr>
            <a:cxnSpLocks/>
          </p:cNvCxnSpPr>
          <p:nvPr userDrawn="1"/>
        </p:nvCxnSpPr>
        <p:spPr>
          <a:xfrm>
            <a:off x="392623" y="1342197"/>
            <a:ext cx="0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CF93E56-30EE-384E-9A8A-090C645582DB}"/>
              </a:ext>
            </a:extLst>
          </p:cNvPr>
          <p:cNvCxnSpPr>
            <a:cxnSpLocks/>
          </p:cNvCxnSpPr>
          <p:nvPr userDrawn="1"/>
        </p:nvCxnSpPr>
        <p:spPr>
          <a:xfrm>
            <a:off x="392623" y="1405468"/>
            <a:ext cx="11369068" cy="0"/>
          </a:xfrm>
          <a:prstGeom prst="line">
            <a:avLst/>
          </a:prstGeom>
          <a:ln w="1270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43B4E00-88C4-4299-98A0-265FC69F18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5150" y="7144"/>
            <a:ext cx="1466850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418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ACCB0E35-0819-4E2E-B7E3-B7483404CD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3E42182-9BCC-EA43-8F60-B2D72BC8A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837678"/>
            <a:ext cx="10972800" cy="2724797"/>
          </a:xfrm>
        </p:spPr>
        <p:txBody>
          <a:bodyPr anchor="ctr">
            <a:normAutofit/>
          </a:bodyPr>
          <a:lstStyle>
            <a:lvl1pPr>
              <a:defRPr sz="54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1D92C2-FFA6-5F45-8B64-DE2D66449E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4589463"/>
            <a:ext cx="109728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76A44B7-E638-7549-9798-03DBCD86AE8D}"/>
              </a:ext>
            </a:extLst>
          </p:cNvPr>
          <p:cNvSpPr/>
          <p:nvPr userDrawn="1"/>
        </p:nvSpPr>
        <p:spPr>
          <a:xfrm>
            <a:off x="0" y="6399296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8D1B40-51F9-0B49-A63E-C21EFF5374CB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913BB93-23A5-8146-9B9E-6666B50EF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4A33DBF-523F-487E-F6F7-E5DEC7532C59}"/>
              </a:ext>
            </a:extLst>
          </p:cNvPr>
          <p:cNvSpPr/>
          <p:nvPr userDrawn="1"/>
        </p:nvSpPr>
        <p:spPr>
          <a:xfrm>
            <a:off x="7223760" y="141316"/>
            <a:ext cx="2352502" cy="27432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EPA logo">
            <a:extLst>
              <a:ext uri="{FF2B5EF4-FFF2-40B4-BE49-F238E27FC236}">
                <a16:creationId xmlns:a16="http://schemas.microsoft.com/office/drawing/2014/main" id="{98278934-0A2B-2954-9186-3714F2788A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83722" y="380975"/>
            <a:ext cx="1966368" cy="774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6074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Funnel chart&#10;&#10;Description automatically generated">
            <a:extLst>
              <a:ext uri="{FF2B5EF4-FFF2-40B4-BE49-F238E27FC236}">
                <a16:creationId xmlns:a16="http://schemas.microsoft.com/office/drawing/2014/main" id="{8EE1861B-F7C8-4B0C-9D24-CC08FEC329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702A74D-ABC9-DA43-B9E5-273F903F2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99966"/>
            <a:ext cx="10972800" cy="767821"/>
          </a:xfrm>
        </p:spPr>
        <p:txBody>
          <a:bodyPr>
            <a:normAutofit/>
          </a:bodyPr>
          <a:lstStyle>
            <a:lvl1pPr>
              <a:defRPr sz="4000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DB64E6-AD2A-2943-A9A1-E2D88AA3EA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009592"/>
            <a:ext cx="109728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6DED7CC-85BC-D54C-939E-106CFC6D71D5}"/>
              </a:ext>
            </a:extLst>
          </p:cNvPr>
          <p:cNvSpPr/>
          <p:nvPr userDrawn="1"/>
        </p:nvSpPr>
        <p:spPr>
          <a:xfrm>
            <a:off x="0" y="6399296"/>
            <a:ext cx="12192000" cy="458704"/>
          </a:xfrm>
          <a:prstGeom prst="rect">
            <a:avLst/>
          </a:prstGeom>
          <a:solidFill>
            <a:srgbClr val="65C5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28044C-128C-4306-9321-1C17BE24ADF7}"/>
              </a:ext>
            </a:extLst>
          </p:cNvPr>
          <p:cNvSpPr txBox="1"/>
          <p:nvPr userDrawn="1"/>
        </p:nvSpPr>
        <p:spPr>
          <a:xfrm>
            <a:off x="71021" y="6536267"/>
            <a:ext cx="4213112" cy="274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0" i="0" u="none" strike="noStrike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S. Environmental Protection Agency</a:t>
            </a:r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EEE35A3-B17E-4B49-A9E0-ED7B97BBD2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06200" y="6536267"/>
            <a:ext cx="576308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188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E9B5DF8-78FD-5841-BD28-013B751C2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CEF579-F39A-5544-9409-0394F3A999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CAFEA-DB91-8848-88FE-0F2D2FFA0D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4B3497-91C7-1048-BCE6-DC58EBE319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4A5EE-3E3D-B348-A4A0-7369138F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231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70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◦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◦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E9B5DF8-78FD-5841-BD28-013B751C2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CEF579-F39A-5544-9409-0394F3A999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6CAFEA-DB91-8848-88FE-0F2D2FFA0D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4B3497-91C7-1048-BCE6-DC58EBE319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64A5EE-3E3D-B348-A4A0-7369138FC5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D9C3B4F-4B7B-9A4F-9F3C-3A4901A339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470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◦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Calibri" panose="020F0502020204030204" pitchFamily="34" charset="0"/>
        <a:buChar char="◦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emf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pa.gov/inflation-reduction-act/climate-pollution-reduction-grant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99168-8306-2941-BD9B-A9680A4C2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1553898"/>
            <a:ext cx="11343503" cy="2724797"/>
          </a:xfrm>
        </p:spPr>
        <p:txBody>
          <a:bodyPr anchor="ctr">
            <a:normAutofit/>
          </a:bodyPr>
          <a:lstStyle/>
          <a:p>
            <a:pPr algn="ctr"/>
            <a:r>
              <a:rPr lang="en-US" sz="4400" dirty="0"/>
              <a:t>EPA’s Climate Pollution Reduction Grants </a:t>
            </a:r>
            <a:br>
              <a:rPr lang="en-US" sz="4400" dirty="0"/>
            </a:br>
            <a:endParaRPr lang="en-US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9B9707-6B8C-425B-828B-A8421F7441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3733800"/>
            <a:ext cx="10972800" cy="2355851"/>
          </a:xfrm>
        </p:spPr>
        <p:txBody>
          <a:bodyPr>
            <a:normAutofit/>
          </a:bodyPr>
          <a:lstStyle/>
          <a:p>
            <a:endParaRPr lang="en-US" sz="320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drea Denny</a:t>
            </a:r>
            <a:endParaRPr lang="en-US" sz="32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1" algn="ctr">
              <a:lnSpc>
                <a:spcPct val="100000"/>
              </a:lnSpc>
              <a:spcBef>
                <a:spcPts val="600"/>
              </a:spcBef>
            </a:pP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Lead Environmental Policy Analyst, State and Local Climate and Energy Program, Office of Atmospheric Protection, Office of Air and Radiation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ctr">
              <a:spcBef>
                <a:spcPts val="600"/>
              </a:spcBef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.S. EPA</a:t>
            </a:r>
          </a:p>
          <a:p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042400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5971361-EA61-4B08-B1FD-988303D33C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5971361-EA61-4B08-B1FD-988303D33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7C25CBAA-2A1A-4707-8BB4-CD150F551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728" y="6518499"/>
            <a:ext cx="3534229" cy="29255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U.S. Environmental Protection Agenc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2B178B4-CDED-454C-BED2-2E2B10ADA7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7534" y="2920143"/>
            <a:ext cx="2967358" cy="1002552"/>
          </a:xfrm>
        </p:spPr>
        <p:txBody>
          <a:bodyPr vert="horz" anchor="ctr"/>
          <a:lstStyle/>
          <a:p>
            <a:r>
              <a:rPr lang="en-US" sz="3500" dirty="0">
                <a:latin typeface="Sagona ExtraLight"/>
              </a:rPr>
              <a:t>tackling climate and Air pollution from multiple angles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665BE018-6752-4C31-B385-BBA126D8C7E0}"/>
              </a:ext>
            </a:extLst>
          </p:cNvPr>
          <p:cNvSpPr txBox="1">
            <a:spLocks/>
          </p:cNvSpPr>
          <p:nvPr/>
        </p:nvSpPr>
        <p:spPr>
          <a:xfrm>
            <a:off x="11761691" y="6577550"/>
            <a:ext cx="34192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FEFF75-79D2-EE46-877B-299D1510E6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: Left 9" descr="Arrow">
            <a:extLst>
              <a:ext uri="{FF2B5EF4-FFF2-40B4-BE49-F238E27FC236}">
                <a16:creationId xmlns:a16="http://schemas.microsoft.com/office/drawing/2014/main" id="{FA6282AB-DB17-9312-BE6C-C2E21965A9F3}"/>
              </a:ext>
            </a:extLst>
          </p:cNvPr>
          <p:cNvSpPr/>
          <p:nvPr/>
        </p:nvSpPr>
        <p:spPr>
          <a:xfrm rot="10800000">
            <a:off x="4248666" y="2684186"/>
            <a:ext cx="2497505" cy="1493010"/>
          </a:xfrm>
          <a:prstGeom prst="leftArrow">
            <a:avLst>
              <a:gd name="adj1" fmla="val 60000"/>
              <a:gd name="adj2" fmla="val 50000"/>
            </a:avLst>
          </a:prstGeom>
          <a:solidFill>
            <a:srgbClr val="A4C8E9"/>
          </a:solidFill>
          <a:scene3d>
            <a:camera prst="orthographicFront"/>
            <a:lightRig rig="flat" dir="t"/>
          </a:scene3d>
          <a:sp3d/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D0385C0-32EE-2319-08DA-466922820A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64109" y="2736830"/>
            <a:ext cx="1387724" cy="1387724"/>
          </a:xfrm>
          <a:custGeom>
            <a:avLst/>
            <a:gdLst>
              <a:gd name="connsiteX0" fmla="*/ 0 w 1060961"/>
              <a:gd name="connsiteY0" fmla="*/ 530481 h 1060961"/>
              <a:gd name="connsiteX1" fmla="*/ 530481 w 1060961"/>
              <a:gd name="connsiteY1" fmla="*/ 0 h 1060961"/>
              <a:gd name="connsiteX2" fmla="*/ 1060962 w 1060961"/>
              <a:gd name="connsiteY2" fmla="*/ 530481 h 1060961"/>
              <a:gd name="connsiteX3" fmla="*/ 530481 w 1060961"/>
              <a:gd name="connsiteY3" fmla="*/ 1060962 h 1060961"/>
              <a:gd name="connsiteX4" fmla="*/ 0 w 1060961"/>
              <a:gd name="connsiteY4" fmla="*/ 530481 h 1060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961" h="1060961">
                <a:moveTo>
                  <a:pt x="0" y="530481"/>
                </a:moveTo>
                <a:cubicBezTo>
                  <a:pt x="0" y="237504"/>
                  <a:pt x="237504" y="0"/>
                  <a:pt x="530481" y="0"/>
                </a:cubicBezTo>
                <a:cubicBezTo>
                  <a:pt x="823458" y="0"/>
                  <a:pt x="1060962" y="237504"/>
                  <a:pt x="1060962" y="530481"/>
                </a:cubicBezTo>
                <a:cubicBezTo>
                  <a:pt x="1060962" y="823458"/>
                  <a:pt x="823458" y="1060962"/>
                  <a:pt x="530481" y="1060962"/>
                </a:cubicBezTo>
                <a:cubicBezTo>
                  <a:pt x="237504" y="1060962"/>
                  <a:pt x="0" y="823458"/>
                  <a:pt x="0" y="530481"/>
                </a:cubicBezTo>
                <a:close/>
              </a:path>
            </a:pathLst>
          </a:custGeom>
          <a:solidFill>
            <a:srgbClr val="023062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5694" tIns="175694" rIns="175694" bIns="175694" numCol="1" spcCol="1270" anchor="ctr" anchorCtr="0">
            <a:noAutofit/>
          </a:bodyPr>
          <a:lstStyle/>
          <a:p>
            <a:pPr marL="0" marR="0" lvl="0" indent="0" algn="ctr" defTabSz="1422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Graphic 25" descr="Earth globe: Americas with solid fill">
            <a:extLst>
              <a:ext uri="{FF2B5EF4-FFF2-40B4-BE49-F238E27FC236}">
                <a16:creationId xmlns:a16="http://schemas.microsoft.com/office/drawing/2014/main" id="{26972B3E-3990-971A-2091-BF80156B99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91233" y="2963956"/>
            <a:ext cx="933474" cy="933473"/>
          </a:xfrm>
          <a:prstGeom prst="rect">
            <a:avLst/>
          </a:prstGeom>
        </p:spPr>
      </p:pic>
      <p:sp>
        <p:nvSpPr>
          <p:cNvPr id="4" name="Arrow: Left 3" descr="Arrow">
            <a:extLst>
              <a:ext uri="{FF2B5EF4-FFF2-40B4-BE49-F238E27FC236}">
                <a16:creationId xmlns:a16="http://schemas.microsoft.com/office/drawing/2014/main" id="{C7170366-8D13-917D-4D76-730E9E4A45D7}"/>
              </a:ext>
            </a:extLst>
          </p:cNvPr>
          <p:cNvSpPr/>
          <p:nvPr/>
        </p:nvSpPr>
        <p:spPr>
          <a:xfrm>
            <a:off x="8569769" y="2684187"/>
            <a:ext cx="2473067" cy="1493010"/>
          </a:xfrm>
          <a:prstGeom prst="leftArrow">
            <a:avLst>
              <a:gd name="adj1" fmla="val 60000"/>
              <a:gd name="adj2" fmla="val 50000"/>
            </a:avLst>
          </a:prstGeom>
          <a:solidFill>
            <a:srgbClr val="397BC8"/>
          </a:solidFill>
          <a:scene3d>
            <a:camera prst="orthographicFront"/>
            <a:lightRig rig="flat" dir="t"/>
          </a:scene3d>
          <a:sp3d/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1D91DB8-F0C4-05A4-02F5-9B94EE9058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543046" y="2981758"/>
            <a:ext cx="897868" cy="897869"/>
          </a:xfrm>
          <a:custGeom>
            <a:avLst/>
            <a:gdLst>
              <a:gd name="connsiteX0" fmla="*/ 0 w 1060961"/>
              <a:gd name="connsiteY0" fmla="*/ 530481 h 1060961"/>
              <a:gd name="connsiteX1" fmla="*/ 530481 w 1060961"/>
              <a:gd name="connsiteY1" fmla="*/ 0 h 1060961"/>
              <a:gd name="connsiteX2" fmla="*/ 1060962 w 1060961"/>
              <a:gd name="connsiteY2" fmla="*/ 530481 h 1060961"/>
              <a:gd name="connsiteX3" fmla="*/ 530481 w 1060961"/>
              <a:gd name="connsiteY3" fmla="*/ 1060962 h 1060961"/>
              <a:gd name="connsiteX4" fmla="*/ 0 w 1060961"/>
              <a:gd name="connsiteY4" fmla="*/ 530481 h 1060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961" h="1060961">
                <a:moveTo>
                  <a:pt x="0" y="530481"/>
                </a:moveTo>
                <a:cubicBezTo>
                  <a:pt x="0" y="237504"/>
                  <a:pt x="237504" y="0"/>
                  <a:pt x="530481" y="0"/>
                </a:cubicBezTo>
                <a:cubicBezTo>
                  <a:pt x="823458" y="0"/>
                  <a:pt x="1060962" y="237504"/>
                  <a:pt x="1060962" y="530481"/>
                </a:cubicBezTo>
                <a:cubicBezTo>
                  <a:pt x="1060962" y="823458"/>
                  <a:pt x="823458" y="1060962"/>
                  <a:pt x="530481" y="1060962"/>
                </a:cubicBezTo>
                <a:cubicBezTo>
                  <a:pt x="237504" y="1060962"/>
                  <a:pt x="0" y="823458"/>
                  <a:pt x="0" y="530481"/>
                </a:cubicBezTo>
                <a:close/>
              </a:path>
            </a:pathLst>
          </a:custGeom>
          <a:solidFill>
            <a:schemeClr val="bg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5694" tIns="175694" rIns="175694" bIns="175694" numCol="1" spcCol="1270" anchor="ctr" anchorCtr="0">
            <a:noAutofit/>
          </a:bodyPr>
          <a:lstStyle/>
          <a:p>
            <a:pPr marL="0" marR="0" lvl="0" indent="0" algn="ctr" defTabSz="1422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Graphic 27" descr="Oil Rig icon">
            <a:extLst>
              <a:ext uri="{FF2B5EF4-FFF2-40B4-BE49-F238E27FC236}">
                <a16:creationId xmlns:a16="http://schemas.microsoft.com/office/drawing/2014/main" id="{8F99147A-B13F-BE86-1459-626304F5C5F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97584" y="3136297"/>
            <a:ext cx="588790" cy="588791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59A11914-9BF8-FE9C-E786-AE42CBDC8D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878733" y="2981758"/>
            <a:ext cx="897868" cy="897869"/>
          </a:xfrm>
          <a:custGeom>
            <a:avLst/>
            <a:gdLst>
              <a:gd name="connsiteX0" fmla="*/ 0 w 1060961"/>
              <a:gd name="connsiteY0" fmla="*/ 530481 h 1060961"/>
              <a:gd name="connsiteX1" fmla="*/ 530481 w 1060961"/>
              <a:gd name="connsiteY1" fmla="*/ 0 h 1060961"/>
              <a:gd name="connsiteX2" fmla="*/ 1060962 w 1060961"/>
              <a:gd name="connsiteY2" fmla="*/ 530481 h 1060961"/>
              <a:gd name="connsiteX3" fmla="*/ 530481 w 1060961"/>
              <a:gd name="connsiteY3" fmla="*/ 1060962 h 1060961"/>
              <a:gd name="connsiteX4" fmla="*/ 0 w 1060961"/>
              <a:gd name="connsiteY4" fmla="*/ 530481 h 1060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961" h="1060961">
                <a:moveTo>
                  <a:pt x="0" y="530481"/>
                </a:moveTo>
                <a:cubicBezTo>
                  <a:pt x="0" y="237504"/>
                  <a:pt x="237504" y="0"/>
                  <a:pt x="530481" y="0"/>
                </a:cubicBezTo>
                <a:cubicBezTo>
                  <a:pt x="823458" y="0"/>
                  <a:pt x="1060962" y="237504"/>
                  <a:pt x="1060962" y="530481"/>
                </a:cubicBezTo>
                <a:cubicBezTo>
                  <a:pt x="1060962" y="823458"/>
                  <a:pt x="823458" y="1060962"/>
                  <a:pt x="530481" y="1060962"/>
                </a:cubicBezTo>
                <a:cubicBezTo>
                  <a:pt x="237504" y="1060962"/>
                  <a:pt x="0" y="823458"/>
                  <a:pt x="0" y="530481"/>
                </a:cubicBezTo>
                <a:close/>
              </a:path>
            </a:pathLst>
          </a:custGeom>
          <a:solidFill>
            <a:schemeClr val="bg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5694" tIns="175694" rIns="175694" bIns="175694" numCol="1" spcCol="1270" anchor="ctr" anchorCtr="0">
            <a:noAutofit/>
          </a:bodyPr>
          <a:lstStyle/>
          <a:p>
            <a:pPr marL="0" marR="0" lvl="0" indent="0" algn="ctr" defTabSz="1422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2" name="Graphic 31" descr="Bus icon">
            <a:extLst>
              <a:ext uri="{FF2B5EF4-FFF2-40B4-BE49-F238E27FC236}">
                <a16:creationId xmlns:a16="http://schemas.microsoft.com/office/drawing/2014/main" id="{C99B7ACB-295D-B16E-B78B-A981EEFE4E4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983637" y="3086662"/>
            <a:ext cx="688060" cy="688061"/>
          </a:xfrm>
          <a:prstGeom prst="rect">
            <a:avLst/>
          </a:prstGeom>
        </p:spPr>
      </p:pic>
      <p:sp>
        <p:nvSpPr>
          <p:cNvPr id="5" name="Arrow: Left 4" descr="Arrow">
            <a:extLst>
              <a:ext uri="{FF2B5EF4-FFF2-40B4-BE49-F238E27FC236}">
                <a16:creationId xmlns:a16="http://schemas.microsoft.com/office/drawing/2014/main" id="{07FD3552-3BA4-6144-BD09-054C7FCE9E66}"/>
              </a:ext>
            </a:extLst>
          </p:cNvPr>
          <p:cNvSpPr/>
          <p:nvPr/>
        </p:nvSpPr>
        <p:spPr>
          <a:xfrm rot="16200000">
            <a:off x="6613750" y="829992"/>
            <a:ext cx="2088444" cy="1493010"/>
          </a:xfrm>
          <a:prstGeom prst="leftArrow">
            <a:avLst>
              <a:gd name="adj1" fmla="val 60000"/>
              <a:gd name="adj2" fmla="val 50000"/>
            </a:avLst>
          </a:prstGeom>
          <a:solidFill>
            <a:srgbClr val="80A53B"/>
          </a:solidFill>
          <a:scene3d>
            <a:camera prst="orthographicFront"/>
            <a:lightRig rig="flat" dir="t"/>
          </a:scene3d>
          <a:sp3d/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F0B5657-7F86-C133-06C2-FB43609BE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09035" y="137601"/>
            <a:ext cx="897868" cy="897869"/>
          </a:xfrm>
          <a:custGeom>
            <a:avLst/>
            <a:gdLst>
              <a:gd name="connsiteX0" fmla="*/ 0 w 1060961"/>
              <a:gd name="connsiteY0" fmla="*/ 530481 h 1060961"/>
              <a:gd name="connsiteX1" fmla="*/ 530481 w 1060961"/>
              <a:gd name="connsiteY1" fmla="*/ 0 h 1060961"/>
              <a:gd name="connsiteX2" fmla="*/ 1060962 w 1060961"/>
              <a:gd name="connsiteY2" fmla="*/ 530481 h 1060961"/>
              <a:gd name="connsiteX3" fmla="*/ 530481 w 1060961"/>
              <a:gd name="connsiteY3" fmla="*/ 1060962 h 1060961"/>
              <a:gd name="connsiteX4" fmla="*/ 0 w 1060961"/>
              <a:gd name="connsiteY4" fmla="*/ 530481 h 1060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961" h="1060961">
                <a:moveTo>
                  <a:pt x="0" y="530481"/>
                </a:moveTo>
                <a:cubicBezTo>
                  <a:pt x="0" y="237504"/>
                  <a:pt x="237504" y="0"/>
                  <a:pt x="530481" y="0"/>
                </a:cubicBezTo>
                <a:cubicBezTo>
                  <a:pt x="823458" y="0"/>
                  <a:pt x="1060962" y="237504"/>
                  <a:pt x="1060962" y="530481"/>
                </a:cubicBezTo>
                <a:cubicBezTo>
                  <a:pt x="1060962" y="823458"/>
                  <a:pt x="823458" y="1060962"/>
                  <a:pt x="530481" y="1060962"/>
                </a:cubicBezTo>
                <a:cubicBezTo>
                  <a:pt x="237504" y="1060962"/>
                  <a:pt x="0" y="823458"/>
                  <a:pt x="0" y="530481"/>
                </a:cubicBezTo>
                <a:close/>
              </a:path>
            </a:pathLst>
          </a:custGeom>
          <a:solidFill>
            <a:schemeClr val="bg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75694" tIns="175694" rIns="175694" bIns="175694" numCol="1" spcCol="1270" anchor="ctr" anchorCtr="0">
            <a:noAutofit/>
          </a:bodyPr>
          <a:lstStyle/>
          <a:p>
            <a:pPr marL="0" marR="0" lvl="0" indent="0" algn="ctr" defTabSz="1422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" name="Graphic 23" descr="Blueprint icon">
            <a:extLst>
              <a:ext uri="{FF2B5EF4-FFF2-40B4-BE49-F238E27FC236}">
                <a16:creationId xmlns:a16="http://schemas.microsoft.com/office/drawing/2014/main" id="{C3EB18F9-3173-9F6F-645B-F21CF098714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372281" y="300847"/>
            <a:ext cx="571375" cy="571376"/>
          </a:xfrm>
          <a:prstGeom prst="rect">
            <a:avLst/>
          </a:prstGeom>
        </p:spPr>
      </p:pic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57A799B-7C5E-49EC-627E-306E061D2388}"/>
              </a:ext>
            </a:extLst>
          </p:cNvPr>
          <p:cNvSpPr/>
          <p:nvPr/>
        </p:nvSpPr>
        <p:spPr>
          <a:xfrm>
            <a:off x="8582844" y="686218"/>
            <a:ext cx="2858070" cy="1893064"/>
          </a:xfrm>
          <a:prstGeom prst="roundRect">
            <a:avLst/>
          </a:prstGeom>
          <a:solidFill>
            <a:srgbClr val="80A53B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9144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p-down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mate Pla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mate Pollution Reduction Planning and   Implementation Grants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B210A2A3-4A5D-1363-324D-C5FCCB8DE0FE}"/>
              </a:ext>
            </a:extLst>
          </p:cNvPr>
          <p:cNvSpPr/>
          <p:nvPr/>
        </p:nvSpPr>
        <p:spPr>
          <a:xfrm>
            <a:off x="3878734" y="686218"/>
            <a:ext cx="2858070" cy="1893064"/>
          </a:xfrm>
          <a:prstGeom prst="roundRect">
            <a:avLst/>
          </a:prstGeom>
          <a:solidFill>
            <a:srgbClr val="A4C8E9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9144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tor-based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e Sources</a:t>
            </a:r>
            <a:endParaRPr kumimoji="0" lang="en-US" sz="1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n School Bus progr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n heavy-duty vehicl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n por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esel Emissions Reductions</a:t>
            </a:r>
          </a:p>
        </p:txBody>
      </p:sp>
      <p:sp>
        <p:nvSpPr>
          <p:cNvPr id="11" name="Arrow: Left 10" descr="Arrow">
            <a:extLst>
              <a:ext uri="{FF2B5EF4-FFF2-40B4-BE49-F238E27FC236}">
                <a16:creationId xmlns:a16="http://schemas.microsoft.com/office/drawing/2014/main" id="{B40C0DF6-0D78-D657-303D-14CC57D4D80E}"/>
              </a:ext>
            </a:extLst>
          </p:cNvPr>
          <p:cNvSpPr/>
          <p:nvPr/>
        </p:nvSpPr>
        <p:spPr>
          <a:xfrm rot="5400000">
            <a:off x="6613748" y="4538380"/>
            <a:ext cx="2088445" cy="1493010"/>
          </a:xfrm>
          <a:prstGeom prst="leftArrow">
            <a:avLst>
              <a:gd name="adj1" fmla="val 60000"/>
              <a:gd name="adj2" fmla="val 50000"/>
            </a:avLst>
          </a:prstGeom>
          <a:solidFill>
            <a:srgbClr val="233994"/>
          </a:solidFill>
          <a:scene3d>
            <a:camera prst="orthographicFront"/>
            <a:lightRig rig="flat" dir="t"/>
          </a:scene3d>
          <a:sp3d/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8EA6F8C-790F-E535-0D1A-19BD675C7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204804" y="5822531"/>
            <a:ext cx="897868" cy="897868"/>
            <a:chOff x="7152696" y="5889551"/>
            <a:chExt cx="933597" cy="933597"/>
          </a:xfrm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E6BF488F-430E-67FE-3226-C1CEA827321F}"/>
                </a:ext>
              </a:extLst>
            </p:cNvPr>
            <p:cNvSpPr/>
            <p:nvPr/>
          </p:nvSpPr>
          <p:spPr>
            <a:xfrm>
              <a:off x="7152696" y="5889551"/>
              <a:ext cx="933597" cy="933597"/>
            </a:xfrm>
            <a:custGeom>
              <a:avLst/>
              <a:gdLst>
                <a:gd name="connsiteX0" fmla="*/ 0 w 1060961"/>
                <a:gd name="connsiteY0" fmla="*/ 530481 h 1060961"/>
                <a:gd name="connsiteX1" fmla="*/ 530481 w 1060961"/>
                <a:gd name="connsiteY1" fmla="*/ 0 h 1060961"/>
                <a:gd name="connsiteX2" fmla="*/ 1060962 w 1060961"/>
                <a:gd name="connsiteY2" fmla="*/ 530481 h 1060961"/>
                <a:gd name="connsiteX3" fmla="*/ 530481 w 1060961"/>
                <a:gd name="connsiteY3" fmla="*/ 1060962 h 1060961"/>
                <a:gd name="connsiteX4" fmla="*/ 0 w 1060961"/>
                <a:gd name="connsiteY4" fmla="*/ 530481 h 1060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0961" h="1060961">
                  <a:moveTo>
                    <a:pt x="0" y="530481"/>
                  </a:moveTo>
                  <a:cubicBezTo>
                    <a:pt x="0" y="237504"/>
                    <a:pt x="237504" y="0"/>
                    <a:pt x="530481" y="0"/>
                  </a:cubicBezTo>
                  <a:cubicBezTo>
                    <a:pt x="823458" y="0"/>
                    <a:pt x="1060962" y="237504"/>
                    <a:pt x="1060962" y="530481"/>
                  </a:cubicBezTo>
                  <a:cubicBezTo>
                    <a:pt x="1060962" y="823458"/>
                    <a:pt x="823458" y="1060962"/>
                    <a:pt x="530481" y="1060962"/>
                  </a:cubicBezTo>
                  <a:cubicBezTo>
                    <a:pt x="237504" y="1060962"/>
                    <a:pt x="0" y="823458"/>
                    <a:pt x="0" y="530481"/>
                  </a:cubicBezTo>
                  <a:close/>
                </a:path>
              </a:pathLst>
            </a:custGeom>
            <a:solidFill>
              <a:schemeClr val="bg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5694" tIns="175694" rIns="175694" bIns="175694" numCol="1" spcCol="1270" anchor="ctr" anchorCtr="0">
              <a:noAutofit/>
            </a:bodyPr>
            <a:lstStyle/>
            <a:p>
              <a:pPr marL="0" marR="0" lvl="0" indent="0" algn="ctr" defTabSz="1422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4" name="Graphic 33" descr="Scales of justice with solid fill">
              <a:extLst>
                <a:ext uri="{FF2B5EF4-FFF2-40B4-BE49-F238E27FC236}">
                  <a16:creationId xmlns:a16="http://schemas.microsoft.com/office/drawing/2014/main" id="{93DCBBE3-9827-0781-AD81-091F430AF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289414" y="5959561"/>
              <a:ext cx="660155" cy="660155"/>
            </a:xfrm>
            <a:prstGeom prst="rect">
              <a:avLst/>
            </a:prstGeom>
          </p:spPr>
        </p:pic>
      </p:grp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C8032AA6-D000-06F1-D649-AF509E4F85B5}"/>
              </a:ext>
            </a:extLst>
          </p:cNvPr>
          <p:cNvSpPr/>
          <p:nvPr/>
        </p:nvSpPr>
        <p:spPr>
          <a:xfrm>
            <a:off x="8582844" y="4394605"/>
            <a:ext cx="2858070" cy="2130148"/>
          </a:xfrm>
          <a:prstGeom prst="roundRect">
            <a:avLst/>
          </a:prstGeom>
          <a:solidFill>
            <a:srgbClr val="397BC8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0" rIns="45720" bIns="9144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tor-based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ionary Sour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1778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thane Emissions Reduction Program</a:t>
            </a:r>
          </a:p>
          <a:p>
            <a:pPr marL="0" marR="0" lvl="0" indent="0" algn="ctr" defTabSz="1778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ding to Address Air Pollution / Air Monitoring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4E54BD29-9726-852E-E768-CF7000F50473}"/>
              </a:ext>
            </a:extLst>
          </p:cNvPr>
          <p:cNvSpPr/>
          <p:nvPr/>
        </p:nvSpPr>
        <p:spPr>
          <a:xfrm>
            <a:off x="3878735" y="4394605"/>
            <a:ext cx="2858070" cy="2130148"/>
          </a:xfrm>
          <a:prstGeom prst="roundRect">
            <a:avLst/>
          </a:prstGeom>
          <a:solidFill>
            <a:srgbClr val="233994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" tIns="0" rIns="9144" bIns="9144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tom-up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vironmental Justice (EJ)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1778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v. &amp; Climate Justice Program</a:t>
            </a:r>
          </a:p>
          <a:p>
            <a:pPr marL="0" marR="0" lvl="0" indent="0" algn="ctr" defTabSz="1778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iving Communities Program </a:t>
            </a:r>
          </a:p>
          <a:p>
            <a:pPr marL="0" marR="0" lvl="0" indent="0" algn="ctr" defTabSz="1778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J Govt.-to-Govt. Program </a:t>
            </a:r>
          </a:p>
          <a:p>
            <a:pPr marL="0" marR="0" lvl="0" indent="0" algn="ctr" defTabSz="1778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laborative Problem-Solving Coop. Agreement Program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2A93BC-95CD-71DE-B7EA-FFC74EC70B5F}"/>
              </a:ext>
            </a:extLst>
          </p:cNvPr>
          <p:cNvSpPr txBox="1"/>
          <p:nvPr/>
        </p:nvSpPr>
        <p:spPr>
          <a:xfrm>
            <a:off x="3300211" y="6530662"/>
            <a:ext cx="2743200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Not exhaustive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80291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86D0A-7B62-47C6-95D8-CF0F7AAA7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Climate Pollution Reduction Grant (CPRG) Program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F32DCF-BD27-AA31-8023-8AADDFAD1B6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lvl="1" indent="0">
              <a:spcBef>
                <a:spcPts val="600"/>
              </a:spcBef>
              <a:buNone/>
            </a:pP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457200" lvl="1" indent="0">
              <a:spcBef>
                <a:spcPts val="600"/>
              </a:spcBef>
              <a:buNone/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1. Planning grants </a:t>
            </a:r>
            <a:r>
              <a:rPr lang="en-US" sz="3200" dirty="0"/>
              <a:t>to develop strong climate pollution reduction strategies ($250 million)</a:t>
            </a:r>
          </a:p>
          <a:p>
            <a:pPr marL="457200" lvl="1" indent="0">
              <a:spcBef>
                <a:spcPts val="600"/>
              </a:spcBef>
              <a:buNone/>
            </a:pPr>
            <a:endParaRPr lang="en-US" sz="32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457200" lvl="1" indent="0">
              <a:spcBef>
                <a:spcPts val="600"/>
              </a:spcBef>
              <a:buNone/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</a:rPr>
              <a:t>2. Competitive implementation grants </a:t>
            </a:r>
            <a:r>
              <a:rPr lang="en-US" sz="3200" dirty="0"/>
              <a:t>to help put plans into action ($4.6 billion)</a:t>
            </a:r>
            <a:endParaRPr lang="en-US" sz="3600" b="1" dirty="0"/>
          </a:p>
          <a:p>
            <a:pPr marL="0" indent="0">
              <a:buNone/>
            </a:pPr>
            <a:endParaRPr lang="en-US" sz="3600" dirty="0">
              <a:latin typeface="Franklin Gothic Book"/>
            </a:endParaRPr>
          </a:p>
          <a:p>
            <a:pPr marL="514350" indent="-514350">
              <a:buAutoNum type="arabicPeriod"/>
            </a:pPr>
            <a:endParaRPr lang="en-US" sz="3600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9E9286-BC5E-4033-A778-BE4DAB7FE05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3657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F741E7-67ED-4919-B603-59DC4E1759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6BF99F-51CC-2C8E-E6DE-C662680CC9A4}"/>
              </a:ext>
            </a:extLst>
          </p:cNvPr>
          <p:cNvSpPr txBox="1"/>
          <p:nvPr/>
        </p:nvSpPr>
        <p:spPr>
          <a:xfrm>
            <a:off x="859317" y="5658034"/>
            <a:ext cx="107230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hlinkClick r:id="rId3"/>
              </a:rPr>
              <a:t>https://www.epa.gov/inflation-reduction-act/climate-pollution-reduction-grants</a:t>
            </a:r>
            <a:r>
              <a:rPr lang="en-US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1507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BDFA78-29FF-801B-FA72-D7DBDD14EA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lanning Grant Alloc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B0D630-1601-5AAC-1E62-3D9536CC52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9C3B4F-4B7B-9A4F-9F3C-3A4901A33979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4A27492-6395-D37F-20E5-42A1C5122009}"/>
              </a:ext>
            </a:extLst>
          </p:cNvPr>
          <p:cNvSpPr/>
          <p:nvPr/>
        </p:nvSpPr>
        <p:spPr>
          <a:xfrm>
            <a:off x="1353931" y="1690688"/>
            <a:ext cx="2870237" cy="1271172"/>
          </a:xfrm>
          <a:prstGeom prst="roundRect">
            <a:avLst/>
          </a:prstGeom>
          <a:solidFill>
            <a:srgbClr val="006B99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es: $156 million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 to $3M per state + DC + Puerto Rico </a:t>
            </a: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EEEB0678-9B4E-5EBA-6ABD-5FBB5313659D}"/>
              </a:ext>
            </a:extLst>
          </p:cNvPr>
          <p:cNvSpPr/>
          <p:nvPr/>
        </p:nvSpPr>
        <p:spPr>
          <a:xfrm>
            <a:off x="221942" y="3653461"/>
            <a:ext cx="3098917" cy="1656669"/>
          </a:xfrm>
          <a:prstGeom prst="roundRect">
            <a:avLst/>
          </a:prstGeom>
          <a:solidFill>
            <a:srgbClr val="66C59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ritories: $2 m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 to $500K each for US Virgin Islands, Guam, American Samoa,</a:t>
            </a:r>
            <a:b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thern Mariana Islands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A87B9191-857C-30D8-3057-9E002BA818B7}"/>
              </a:ext>
            </a:extLst>
          </p:cNvPr>
          <p:cNvSpPr/>
          <p:nvPr/>
        </p:nvSpPr>
        <p:spPr>
          <a:xfrm>
            <a:off x="7837315" y="4563362"/>
            <a:ext cx="3068577" cy="1271172"/>
          </a:xfrm>
          <a:prstGeom prst="roundRect">
            <a:avLst/>
          </a:prstGeom>
          <a:solidFill>
            <a:srgbClr val="66BDE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ibes: $25 mill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 to $500K per tribe or $1M for groups of 2 or more</a:t>
            </a:r>
            <a:endParaRPr kumimoji="0" lang="en-US" sz="24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A84F469B-CEDE-0C9E-BDDD-F32F80A35308}"/>
              </a:ext>
            </a:extLst>
          </p:cNvPr>
          <p:cNvSpPr/>
          <p:nvPr/>
        </p:nvSpPr>
        <p:spPr>
          <a:xfrm>
            <a:off x="9103827" y="1905918"/>
            <a:ext cx="2861432" cy="1523082"/>
          </a:xfrm>
          <a:prstGeom prst="roundRect">
            <a:avLst/>
          </a:prstGeom>
          <a:solidFill>
            <a:srgbClr val="009F5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s: $67 milli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 to $1M each for the 67 most populous metropolitan areas</a:t>
            </a:r>
          </a:p>
        </p:txBody>
      </p:sp>
      <p:pic>
        <p:nvPicPr>
          <p:cNvPr id="3" name="Picture 2" descr="Four-part circular diagram">
            <a:extLst>
              <a:ext uri="{FF2B5EF4-FFF2-40B4-BE49-F238E27FC236}">
                <a16:creationId xmlns:a16="http://schemas.microsoft.com/office/drawing/2014/main" id="{4E10B100-64E0-9408-B38D-C932941F8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3777" y="1167188"/>
            <a:ext cx="5828281" cy="452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292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E8A93E-11EB-400F-4F47-7786CFF960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9C3B4F-4B7B-9A4F-9F3C-3A4901A33979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6">
            <a:extLst>
              <a:ext uri="{FF2B5EF4-FFF2-40B4-BE49-F238E27FC236}">
                <a16:creationId xmlns:a16="http://schemas.microsoft.com/office/drawing/2014/main" id="{7E04C467-E928-CB86-B9BE-A8E7DAFF3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492" y="1233477"/>
            <a:ext cx="3691327" cy="2280904"/>
          </a:xfrm>
        </p:spPr>
        <p:txBody>
          <a:bodyPr>
            <a:normAutofit/>
          </a:bodyPr>
          <a:lstStyle/>
          <a:p>
            <a:r>
              <a:rPr lang="en-US" dirty="0"/>
              <a:t>Notice of Intent to Participate Status</a:t>
            </a:r>
          </a:p>
        </p:txBody>
      </p:sp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5" name="Chart 4">
                <a:extLst>
                  <a:ext uri="{FF2B5EF4-FFF2-40B4-BE49-F238E27FC236}">
                    <a16:creationId xmlns:a16="http://schemas.microsoft.com/office/drawing/2014/main" id="{EDA6D6F3-FC87-D9DA-E35C-0BBB849C72CE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202428265"/>
                  </p:ext>
                </p:extLst>
              </p:nvPr>
            </p:nvGraphicFramePr>
            <p:xfrm>
              <a:off x="3569465" y="1077897"/>
              <a:ext cx="8569240" cy="494833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5" name="Chart 4">
                <a:extLst>
                  <a:ext uri="{FF2B5EF4-FFF2-40B4-BE49-F238E27FC236}">
                    <a16:creationId xmlns:a16="http://schemas.microsoft.com/office/drawing/2014/main" id="{EDA6D6F3-FC87-D9DA-E35C-0BBB849C72C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569465" y="1077897"/>
                <a:ext cx="8569240" cy="4948330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3F481059-961F-8ACC-F90F-7BCFA20EA32C}"/>
              </a:ext>
            </a:extLst>
          </p:cNvPr>
          <p:cNvSpPr txBox="1"/>
          <p:nvPr/>
        </p:nvSpPr>
        <p:spPr>
          <a:xfrm>
            <a:off x="782198" y="4175393"/>
            <a:ext cx="2732521" cy="10156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buClr>
                <a:srgbClr val="0091CF"/>
              </a:buClr>
            </a:pPr>
            <a:r>
              <a:rPr lang="en-US" sz="2000" dirty="0">
                <a:sym typeface="Symbol" panose="05050102010706020507" pitchFamily="18" charset="2"/>
              </a:rPr>
              <a:t>NOIP Submitted</a:t>
            </a:r>
          </a:p>
          <a:p>
            <a:pPr>
              <a:buClr>
                <a:srgbClr val="0091CF"/>
              </a:buClr>
            </a:pPr>
            <a:endParaRPr lang="en-US" sz="2000" dirty="0">
              <a:sym typeface="Symbol" panose="05050102010706020507" pitchFamily="18" charset="2"/>
            </a:endParaRPr>
          </a:p>
          <a:p>
            <a:pPr>
              <a:buClr>
                <a:srgbClr val="66BDE2"/>
              </a:buClr>
            </a:pPr>
            <a:r>
              <a:rPr lang="en-US" sz="2000" dirty="0"/>
              <a:t>NOIP Not Submitt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C5ED840-8EED-0266-5ABF-75A174538818}"/>
              </a:ext>
            </a:extLst>
          </p:cNvPr>
          <p:cNvSpPr/>
          <p:nvPr/>
        </p:nvSpPr>
        <p:spPr>
          <a:xfrm>
            <a:off x="358048" y="4274545"/>
            <a:ext cx="385591" cy="2203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A67D6A-1F45-BBE1-7273-07DEB030FC07}"/>
              </a:ext>
            </a:extLst>
          </p:cNvPr>
          <p:cNvSpPr/>
          <p:nvPr/>
        </p:nvSpPr>
        <p:spPr>
          <a:xfrm>
            <a:off x="369234" y="4845586"/>
            <a:ext cx="385591" cy="220337"/>
          </a:xfrm>
          <a:prstGeom prst="rect">
            <a:avLst/>
          </a:prstGeom>
          <a:solidFill>
            <a:srgbClr val="87DC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3891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89C949-D4D3-4CF5-9872-2D4E17A452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796" y="6492875"/>
            <a:ext cx="2743200" cy="365125"/>
          </a:xfrm>
          <a:prstGeom prst="rect">
            <a:avLst/>
          </a:prstGeom>
        </p:spPr>
        <p:txBody>
          <a:bodyPr vert="horz" lIns="91440" tIns="45720" rIns="36576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F741E7-67ED-4919-B603-59DC4E1759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568AA56-0948-466D-AB4A-F2E4591F1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680" y="991106"/>
            <a:ext cx="10972800" cy="767821"/>
          </a:xfrm>
        </p:spPr>
        <p:txBody>
          <a:bodyPr/>
          <a:lstStyle/>
          <a:p>
            <a:pPr algn="ctr"/>
            <a:r>
              <a:rPr lang="en-US" dirty="0"/>
              <a:t>One planning grant, three deliverables over 4 yea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BBE18AE-7596-C7F2-A0EF-3CDB59BA236D}"/>
              </a:ext>
            </a:extLst>
          </p:cNvPr>
          <p:cNvSpPr txBox="1"/>
          <p:nvPr/>
        </p:nvSpPr>
        <p:spPr>
          <a:xfrm>
            <a:off x="226710" y="3804065"/>
            <a:ext cx="3841855" cy="201593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82880" indent="-18288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Due </a:t>
            </a:r>
            <a:r>
              <a:rPr lang="en-US" sz="2000" b="1" dirty="0">
                <a:solidFill>
                  <a:srgbClr val="004A68"/>
                </a:solidFill>
              </a:rPr>
              <a:t>March 1,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4A68"/>
                </a:solidFill>
                <a:effectLst/>
                <a:uLnTx/>
                <a:uFillTx/>
                <a:ea typeface="+mn-ea"/>
                <a:cs typeface="+mn-cs"/>
              </a:rPr>
              <a:t>2024</a:t>
            </a:r>
            <a:r>
              <a:rPr lang="en-US" sz="2000" b="1" dirty="0">
                <a:solidFill>
                  <a:srgbClr val="004A68"/>
                </a:solidFill>
              </a:rPr>
              <a:t> 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4A68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Near-term, implementation-ready,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4A68"/>
                </a:solidFill>
                <a:effectLst/>
                <a:uLnTx/>
                <a:uFillTx/>
                <a:ea typeface="+mn-ea"/>
                <a:cs typeface="+mn-cs"/>
              </a:rPr>
              <a:t>priority greenhouse </a:t>
            </a:r>
            <a:r>
              <a:rPr lang="en-US" sz="2000" b="1" dirty="0">
                <a:solidFill>
                  <a:srgbClr val="004A68"/>
                </a:solidFill>
              </a:rPr>
              <a:t>gas (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4A68"/>
                </a:solidFill>
                <a:effectLst/>
                <a:uLnTx/>
                <a:uFillTx/>
                <a:ea typeface="+mn-ea"/>
                <a:cs typeface="+mn-cs"/>
              </a:rPr>
              <a:t>GHG) reduction measures</a:t>
            </a:r>
            <a:endParaRPr lang="en-US" sz="2000" b="1" i="0" u="none" strike="noStrike" kern="1200" cap="none" spc="0" normalizeH="0" baseline="0" noProof="0" dirty="0">
              <a:ln>
                <a:noFill/>
              </a:ln>
              <a:solidFill>
                <a:srgbClr val="004A68"/>
              </a:solidFill>
              <a:effectLst/>
              <a:uLnTx/>
              <a:uFillTx/>
              <a:cs typeface="Calibri"/>
            </a:endParaRPr>
          </a:p>
          <a:p>
            <a:pPr marL="182880" indent="-18288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4A68"/>
                </a:solidFill>
                <a:effectLst/>
                <a:uLnTx/>
                <a:uFillTx/>
                <a:ea typeface="+mn-ea"/>
                <a:cs typeface="+mn-cs"/>
              </a:rPr>
              <a:t>Prerequisit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or implementation grant</a:t>
            </a:r>
            <a:r>
              <a:rPr lang="en-US" sz="2000" dirty="0"/>
              <a:t>  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9AD6EF-67D9-3B2D-4AE5-8E1BA2E871DC}"/>
              </a:ext>
            </a:extLst>
          </p:cNvPr>
          <p:cNvSpPr txBox="1"/>
          <p:nvPr/>
        </p:nvSpPr>
        <p:spPr>
          <a:xfrm>
            <a:off x="668141" y="2781636"/>
            <a:ext cx="27747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93CF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Priority Climate Action Plan (PCAP)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7A28B76-C0B3-7581-EAAA-3CA8E5B4AEF0}"/>
              </a:ext>
            </a:extLst>
          </p:cNvPr>
          <p:cNvCxnSpPr>
            <a:cxnSpLocks/>
          </p:cNvCxnSpPr>
          <p:nvPr/>
        </p:nvCxnSpPr>
        <p:spPr>
          <a:xfrm>
            <a:off x="226710" y="3623821"/>
            <a:ext cx="365760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90090F14-8A4B-EE6F-8335-60E6E29C27DB}"/>
              </a:ext>
            </a:extLst>
          </p:cNvPr>
          <p:cNvSpPr txBox="1"/>
          <p:nvPr/>
        </p:nvSpPr>
        <p:spPr>
          <a:xfrm>
            <a:off x="4267200" y="3804065"/>
            <a:ext cx="3681702" cy="23237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Due in </a:t>
            </a:r>
            <a:r>
              <a:rPr kumimoji="0" lang="en-US" sz="2000" b="1" i="0" u="none" strike="noStrike" kern="1200" cap="none" spc="0" normalizeH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2025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(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late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for tribes and territories)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All sector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/ significant GHG sources and sinks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Near- and long-term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GHG emission reduction goals an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strategi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2F337B1-424F-A6A5-66F3-A4937267AC8F}"/>
              </a:ext>
            </a:extLst>
          </p:cNvPr>
          <p:cNvSpPr txBox="1"/>
          <p:nvPr/>
        </p:nvSpPr>
        <p:spPr>
          <a:xfrm>
            <a:off x="4454868" y="2781636"/>
            <a:ext cx="32822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Comprehensive Climate Action Plan (CCAP)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38D2BC62-D5BE-2B6F-3CEA-E26835DBB661}"/>
              </a:ext>
            </a:extLst>
          </p:cNvPr>
          <p:cNvCxnSpPr>
            <a:cxnSpLocks/>
          </p:cNvCxnSpPr>
          <p:nvPr/>
        </p:nvCxnSpPr>
        <p:spPr>
          <a:xfrm>
            <a:off x="4267200" y="3623821"/>
            <a:ext cx="365760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F99414B-B56D-CD08-3429-54CCBE233A0C}"/>
              </a:ext>
            </a:extLst>
          </p:cNvPr>
          <p:cNvSpPr txBox="1"/>
          <p:nvPr/>
        </p:nvSpPr>
        <p:spPr>
          <a:xfrm>
            <a:off x="8353929" y="3774000"/>
            <a:ext cx="3657599" cy="17851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82880" marR="0" lvl="1" indent="-18288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Due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2027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(N/A for tribes or territories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ea typeface="+mn-ea"/>
              <a:cs typeface="+mn-cs"/>
            </a:endParaRPr>
          </a:p>
          <a:p>
            <a:pPr marL="182880" lvl="1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Updated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analyses and plans</a:t>
            </a:r>
          </a:p>
          <a:p>
            <a:pPr marL="182880" lvl="1" indent="-18288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Progress and next steps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fo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key metrics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cs typeface="Calibri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B7F67C-97E9-DC60-2616-3899DDAC88EA}"/>
              </a:ext>
            </a:extLst>
          </p:cNvPr>
          <p:cNvSpPr txBox="1"/>
          <p:nvPr/>
        </p:nvSpPr>
        <p:spPr>
          <a:xfrm>
            <a:off x="9355346" y="2834899"/>
            <a:ext cx="197374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Status Report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39E227DD-B57E-37AC-EC7E-C0F59BC14FA2}"/>
              </a:ext>
            </a:extLst>
          </p:cNvPr>
          <p:cNvCxnSpPr>
            <a:cxnSpLocks/>
          </p:cNvCxnSpPr>
          <p:nvPr/>
        </p:nvCxnSpPr>
        <p:spPr>
          <a:xfrm>
            <a:off x="8323067" y="3623821"/>
            <a:ext cx="365760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Target icon">
            <a:extLst>
              <a:ext uri="{FF2B5EF4-FFF2-40B4-BE49-F238E27FC236}">
                <a16:creationId xmlns:a16="http://schemas.microsoft.com/office/drawing/2014/main" id="{581FAE34-4C91-AF3C-4C65-9A2F5357C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3511" y="1884245"/>
            <a:ext cx="883997" cy="883997"/>
          </a:xfrm>
          <a:prstGeom prst="rect">
            <a:avLst/>
          </a:prstGeom>
        </p:spPr>
      </p:pic>
      <p:pic>
        <p:nvPicPr>
          <p:cNvPr id="3" name="Picture 2" descr="Hub icon">
            <a:extLst>
              <a:ext uri="{FF2B5EF4-FFF2-40B4-BE49-F238E27FC236}">
                <a16:creationId xmlns:a16="http://schemas.microsoft.com/office/drawing/2014/main" id="{92C310FB-654E-B834-D05B-8676ED7DB22C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50954" y="1884245"/>
            <a:ext cx="890093" cy="883997"/>
          </a:xfrm>
          <a:prstGeom prst="rect">
            <a:avLst/>
          </a:prstGeom>
        </p:spPr>
      </p:pic>
      <p:pic>
        <p:nvPicPr>
          <p:cNvPr id="6" name="Picture 5" descr="Cycle icon">
            <a:extLst>
              <a:ext uri="{FF2B5EF4-FFF2-40B4-BE49-F238E27FC236}">
                <a16:creationId xmlns:a16="http://schemas.microsoft.com/office/drawing/2014/main" id="{A21F3597-716D-7A97-0AEE-797A9C6D6813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900221" y="1884245"/>
            <a:ext cx="883997" cy="883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3743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C4C63-A6F4-15E6-D94B-BC405D515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66434"/>
            <a:ext cx="11354717" cy="767821"/>
          </a:xfrm>
        </p:spPr>
        <p:txBody>
          <a:bodyPr>
            <a:normAutofit fontScale="90000"/>
          </a:bodyPr>
          <a:lstStyle/>
          <a:p>
            <a:r>
              <a:rPr lang="en-US" sz="4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governmental and Stakeholder Coordin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E8A93E-11EB-400F-4F47-7786CFF960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9C3B4F-4B7B-9A4F-9F3C-3A4901A33979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B7EBAC-E0D4-5348-AEEA-6CBAC28DA5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860811"/>
            <a:ext cx="11354718" cy="4506938"/>
          </a:xfrm>
        </p:spPr>
        <p:txBody>
          <a:bodyPr>
            <a:normAutofit lnSpcReduction="10000"/>
          </a:bodyPr>
          <a:lstStyle/>
          <a:p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d agencies must coordinate with other appropriate agencies and offices within their own government in the development and adoption of the deliverables. </a:t>
            </a:r>
          </a:p>
          <a:p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d agencies must conduct meaningful stakeholder engagement</a:t>
            </a:r>
          </a:p>
          <a:p>
            <a:r>
              <a:rPr lang="en-US" sz="2400" u="sng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te Requirements</a:t>
            </a:r>
          </a:p>
          <a:p>
            <a:pPr lvl="1"/>
            <a:r>
              <a:rPr lang="en-US" b="1" dirty="0">
                <a:solidFill>
                  <a:schemeClr val="accent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llaborate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with air pollution control agencies, and municipalities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in the state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develop the PCAP and over the duration of the grant</a:t>
            </a:r>
          </a:p>
          <a:p>
            <a:pPr lvl="1"/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entify and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ude priority measures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the state PCAP that can be implemented by collaborating entities (e.g., municipalities, air pollution control agencies, collaborating tribes)</a:t>
            </a:r>
          </a:p>
          <a:p>
            <a:r>
              <a:rPr lang="en-US" sz="2400" u="sng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tropolitan Area Requirements</a:t>
            </a:r>
          </a:p>
          <a:p>
            <a:pPr lvl="1"/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mate plans should also be developed with regional coordination as much as possible</a:t>
            </a:r>
          </a:p>
        </p:txBody>
      </p:sp>
    </p:spTree>
    <p:extLst>
      <p:ext uri="{BB962C8B-B14F-4D97-AF65-F5344CB8AC3E}">
        <p14:creationId xmlns:p14="http://schemas.microsoft.com/office/powerpoint/2010/main" val="7008240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C4C63-A6F4-15E6-D94B-BC405D5154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1066434"/>
            <a:ext cx="10972800" cy="767821"/>
          </a:xfrm>
        </p:spPr>
        <p:txBody>
          <a:bodyPr>
            <a:normAutofit fontScale="90000"/>
          </a:bodyPr>
          <a:lstStyle/>
          <a:p>
            <a:r>
              <a:rPr lang="en-US" sz="4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tential Roles for Universities and Municipalitie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E8A93E-11EB-400F-4F47-7786CFF960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9C3B4F-4B7B-9A4F-9F3C-3A4901A33979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B7EBAC-E0D4-5348-AEEA-6CBAC28DA5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34255"/>
            <a:ext cx="11354718" cy="4526675"/>
          </a:xfrm>
        </p:spPr>
        <p:txBody>
          <a:bodyPr>
            <a:normAutofit/>
          </a:bodyPr>
          <a:lstStyle/>
          <a:p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iversities could support 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icipal and </a:t>
            </a:r>
            <a:r>
              <a:rPr lang="en-US" sz="24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blic engagement</a:t>
            </a:r>
          </a:p>
          <a:p>
            <a:pPr lvl="1"/>
            <a:r>
              <a:rPr lang="en-US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vene/Facilitate 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takeholder meetings; advisory committee(s)</a:t>
            </a:r>
          </a:p>
          <a:p>
            <a:pPr lvl="1"/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ub-awards to support municipal planning (either directly to municipalities or to a </a:t>
            </a:r>
            <a:r>
              <a:rPr lang="en-US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3</a:t>
            </a:r>
            <a:r>
              <a:rPr lang="en-US" sz="2000" b="1" i="0" baseline="300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d</a:t>
            </a:r>
            <a:r>
              <a:rPr lang="en-US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party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);</a:t>
            </a:r>
          </a:p>
          <a:p>
            <a:pPr lvl="1"/>
            <a:r>
              <a:rPr lang="en-US" sz="20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nalysis or modeling 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 identify promising municipal GHG reduction measures; </a:t>
            </a:r>
          </a:p>
          <a:p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ategies for Municipalities to Engage with their States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ach out to state contacts to learn more about how they intend to conduct this coordination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onitor state websites or newsletters for announcements about coordination, training, or capacity-building opportunities 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llaborate with neighboring communities or municipal groups to identify shared priority GHG reduction measures and best practices that can inform state plans 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hare existing municipal climate, energy, or sustainability plans, programs, and policies with the state </a:t>
            </a:r>
          </a:p>
          <a:p>
            <a:pPr lvl="1"/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183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SLB">
      <a:dk1>
        <a:sysClr val="windowText" lastClr="000000"/>
      </a:dk1>
      <a:lt1>
        <a:sysClr val="window" lastClr="FFFFFF"/>
      </a:lt1>
      <a:dk2>
        <a:srgbClr val="B4DBBC"/>
      </a:dk2>
      <a:lt2>
        <a:srgbClr val="F0EBB4"/>
      </a:lt2>
      <a:accent1>
        <a:srgbClr val="0193CF"/>
      </a:accent1>
      <a:accent2>
        <a:srgbClr val="00A261"/>
      </a:accent2>
      <a:accent3>
        <a:srgbClr val="593A76"/>
      </a:accent3>
      <a:accent4>
        <a:srgbClr val="003466"/>
      </a:accent4>
      <a:accent5>
        <a:srgbClr val="677D8A"/>
      </a:accent5>
      <a:accent6>
        <a:srgbClr val="90754A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SLB">
      <a:dk1>
        <a:sysClr val="windowText" lastClr="000000"/>
      </a:dk1>
      <a:lt1>
        <a:sysClr val="window" lastClr="FFFFFF"/>
      </a:lt1>
      <a:dk2>
        <a:srgbClr val="B4DBBC"/>
      </a:dk2>
      <a:lt2>
        <a:srgbClr val="F0EBB4"/>
      </a:lt2>
      <a:accent1>
        <a:srgbClr val="0193CF"/>
      </a:accent1>
      <a:accent2>
        <a:srgbClr val="00A261"/>
      </a:accent2>
      <a:accent3>
        <a:srgbClr val="593A76"/>
      </a:accent3>
      <a:accent4>
        <a:srgbClr val="003466"/>
      </a:accent4>
      <a:accent5>
        <a:srgbClr val="677D8A"/>
      </a:accent5>
      <a:accent6>
        <a:srgbClr val="90754A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EsriMapsInfo xmlns="ESRI.ArcGIS.Mapping.OfficeIntegration.PowerPointInfo">
  <Version>Version1</Version>
  <RequiresSignIn>False</RequiresSignIn>
</EsriMapsInfo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126F909E93C945B457D15CD565A65D" ma:contentTypeVersion="5" ma:contentTypeDescription="Create a new document." ma:contentTypeScope="" ma:versionID="dd761bcc07cae09737849b72efdfb13c">
  <xsd:schema xmlns:xsd="http://www.w3.org/2001/XMLSchema" xmlns:xs="http://www.w3.org/2001/XMLSchema" xmlns:p="http://schemas.microsoft.com/office/2006/metadata/properties" xmlns:ns2="0ea509a8-d380-4860-ade4-0d08c81ad58c" xmlns:ns3="3bf43e60-690d-4b2b-8dee-c04ac8b5a3c0" targetNamespace="http://schemas.microsoft.com/office/2006/metadata/properties" ma:root="true" ma:fieldsID="67c341ad37d1cc6e79e305c8adf10fbf" ns2:_="" ns3:_="">
    <xsd:import namespace="0ea509a8-d380-4860-ade4-0d08c81ad58c"/>
    <xsd:import namespace="3bf43e60-690d-4b2b-8dee-c04ac8b5a3c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a509a8-d380-4860-ade4-0d08c81ad5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f43e60-690d-4b2b-8dee-c04ac8b5a3c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8B916ED2FB6A47AFA4E05A3E606BD3" ma:contentTypeVersion="11" ma:contentTypeDescription="Create a new document." ma:contentTypeScope="" ma:versionID="67b980d128dc038431a898625a370b1f">
  <xsd:schema xmlns:xsd="http://www.w3.org/2001/XMLSchema" xmlns:xs="http://www.w3.org/2001/XMLSchema" xmlns:p="http://schemas.microsoft.com/office/2006/metadata/properties" xmlns:ns1="http://schemas.microsoft.com/sharepoint/v3" xmlns:ns2="4ffa91fb-a0ff-4ac5-b2db-65c790d184a4" xmlns:ns3="http://schemas.microsoft.com/sharepoint.v3" xmlns:ns4="http://schemas.microsoft.com/sharepoint/v3/fields" xmlns:ns5="3d00cabe-74f9-499f-ba26-1e0076cbc6cc" xmlns:ns6="2755580c-7c5f-43cf-bd85-5c868b718937" targetNamespace="http://schemas.microsoft.com/office/2006/metadata/properties" ma:root="true" ma:fieldsID="2e7bc7786392cd61b492b68e63085599" ns1:_="" ns2:_="" ns3:_="" ns4:_="" ns5:_="" ns6:_="">
    <xsd:import namespace="http://schemas.microsoft.com/sharepoint/v3"/>
    <xsd:import namespace="4ffa91fb-a0ff-4ac5-b2db-65c790d184a4"/>
    <xsd:import namespace="http://schemas.microsoft.com/sharepoint.v3"/>
    <xsd:import namespace="http://schemas.microsoft.com/sharepoint/v3/fields"/>
    <xsd:import namespace="3d00cabe-74f9-499f-ba26-1e0076cbc6cc"/>
    <xsd:import namespace="2755580c-7c5f-43cf-bd85-5c868b718937"/>
    <xsd:element name="properties">
      <xsd:complexType>
        <xsd:sequence>
          <xsd:element name="documentManagement">
            <xsd:complexType>
              <xsd:all>
                <xsd:element ref="ns2:Document_x0020_Creation_x0020_Date" minOccurs="0"/>
                <xsd:element ref="ns2:Creator" minOccurs="0"/>
                <xsd:element ref="ns2:EPA_x0020_Office" minOccurs="0"/>
                <xsd:element ref="ns2:Record" minOccurs="0"/>
                <xsd:element ref="ns3:CategoryDescription" minOccurs="0"/>
                <xsd:element ref="ns2:Identifier" minOccurs="0"/>
                <xsd:element ref="ns2:EPA_x0020_Contributor" minOccurs="0"/>
                <xsd:element ref="ns2:External_x0020_Contributor" minOccurs="0"/>
                <xsd:element ref="ns4:_Coverage" minOccurs="0"/>
                <xsd:element ref="ns2:EPA_x0020_Related_x0020_Documents" minOccurs="0"/>
                <xsd:element ref="ns4:_Source" minOccurs="0"/>
                <xsd:element ref="ns2:Rights" minOccurs="0"/>
                <xsd:element ref="ns1:Language" minOccurs="0"/>
                <xsd:element ref="ns2:j747ac98061d40f0aa7bd47e1db5675d" minOccurs="0"/>
                <xsd:element ref="ns2:TaxKeywordTaxHTField" minOccurs="0"/>
                <xsd:element ref="ns2:TaxCatchAllLabel" minOccurs="0"/>
                <xsd:element ref="ns2:TaxCatchAll" minOccurs="0"/>
                <xsd:element ref="ns5:MediaServiceMetadata" minOccurs="0"/>
                <xsd:element ref="ns5:MediaServiceFastMetadata" minOccurs="0"/>
                <xsd:element ref="ns6:SharedWithUsers" minOccurs="0"/>
                <xsd:element ref="ns6:SharedWithDetails" minOccurs="0"/>
                <xsd:element ref="ns5:lcf76f155ced4ddcb4097134ff3c332f" minOccurs="0"/>
                <xsd:element ref="ns5:MediaServiceOCR" minOccurs="0"/>
                <xsd:element ref="ns5:MediaServiceGenerationTime" minOccurs="0"/>
                <xsd:element ref="ns5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17" nillable="true" ma:displayName="Language" ma:default="English" ma:description="Select the document language from the drop down." ma:format="Dropdown" ma:internalName="Language" ma:readOnly="false">
      <xsd:simpleType>
        <xsd:restriction base="dms:Choice">
          <xsd:enumeration value="Arabic (Saudi Arabia)"/>
          <xsd:enumeration value="Bulgarian (Bulgaria)"/>
          <xsd:enumeration value="Chinese (Hong Kong S.A.R.)"/>
          <xsd:enumeration value="Chinese (People's Republic of China)"/>
          <xsd:enumeration value="Chinese (Taiwan)"/>
          <xsd:enumeration value="Croatian (Croatia)"/>
          <xsd:enumeration value="Czech (Czech Republic)"/>
          <xsd:enumeration value="Danish (Denmark)"/>
          <xsd:enumeration value="Dutch (Netherlands)"/>
          <xsd:enumeration value="English"/>
          <xsd:enumeration value="Estonian (Estonia)"/>
          <xsd:enumeration value="Finnish (Finland)"/>
          <xsd:enumeration value="French (France)"/>
          <xsd:enumeration value="German (Germany)"/>
          <xsd:enumeration value="Greek (Greece)"/>
          <xsd:enumeration value="Hebrew (Israel)"/>
          <xsd:enumeration value="Hindi (India)"/>
          <xsd:enumeration value="Hungarian (Hungary)"/>
          <xsd:enumeration value="Indonesian (Indonesia)"/>
          <xsd:enumeration value="Italian (Italy)"/>
          <xsd:enumeration value="Japanese (Japan)"/>
          <xsd:enumeration value="Korean (Korea)"/>
          <xsd:enumeration value="Latvian (Latvia)"/>
          <xsd:enumeration value="Lithuanian (Lithuania)"/>
          <xsd:enumeration value="Malay (Malaysia)"/>
          <xsd:enumeration value="Norwegian (Bokmal) (Norway)"/>
          <xsd:enumeration value="Polish (Poland)"/>
          <xsd:enumeration value="Portuguese (Brazil)"/>
          <xsd:enumeration value="Portuguese (Portugal)"/>
          <xsd:enumeration value="Romanian (Romania)"/>
          <xsd:enumeration value="Russian (Russia)"/>
          <xsd:enumeration value="Serbian (Latin) (Serbia)"/>
          <xsd:enumeration value="Slovak (Slovakia)"/>
          <xsd:enumeration value="Slovenian (Slovenia)"/>
          <xsd:enumeration value="Spanish (Spain)"/>
          <xsd:enumeration value="Swedish (Sweden)"/>
          <xsd:enumeration value="Thai (Thailand)"/>
          <xsd:enumeration value="Turkish (Turkey)"/>
          <xsd:enumeration value="Ukrainian (Ukraine)"/>
          <xsd:enumeration value="Urdu (Islamic Republic of Pakistan)"/>
          <xsd:enumeration value="Vietnamese (Vietnam)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fa91fb-a0ff-4ac5-b2db-65c790d184a4" elementFormDefault="qualified">
    <xsd:import namespace="http://schemas.microsoft.com/office/2006/documentManagement/types"/>
    <xsd:import namespace="http://schemas.microsoft.com/office/infopath/2007/PartnerControls"/>
    <xsd:element name="Document_x0020_Creation_x0020_Date" ma:index="2" nillable="true" ma:displayName="Document Date" ma:default="[today]" ma:description="Enter the date this document was last modified. The upload date has been entered by default." ma:format="DateOnly" ma:internalName="Document_x0020_Creation_x0020_Date" ma:readOnly="false">
      <xsd:simpleType>
        <xsd:restriction base="dms:DateTime"/>
      </xsd:simpleType>
    </xsd:element>
    <xsd:element name="Creator" ma:index="3" nillable="true" ma:displayName="Creator" ma:description="Enter the person primarily responsible for the document. The name of the person uploading the document has been entered by default." ma:list="UserInfo" ma:SharePointGroup="0" ma:internalName="Creato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PA_x0020_Office" ma:index="4" nillable="true" ma:displayName="EPA Office" ma:description="Enter the EPA organization primarily responsible for the document. The office of the person uploading the document has been entered by default." ma:internalName="EPA_x0020_Office" ma:readOnly="false">
      <xsd:simpleType>
        <xsd:restriction base="dms:Text">
          <xsd:maxLength value="255"/>
        </xsd:restriction>
      </xsd:simpleType>
    </xsd:element>
    <xsd:element name="Record" ma:index="5" nillable="true" ma:displayName="Record" ma:default="Shared" ma:description="For documents that provide evidence of EPA decisions and actions, select &quot;Shared&quot; (open access) or &quot;Private&quot; (restricted access)." ma:format="Dropdown" ma:internalName="Record" ma:readOnly="false">
      <xsd:simpleType>
        <xsd:restriction base="dms:Choice">
          <xsd:enumeration value="None"/>
          <xsd:enumeration value="Shared"/>
          <xsd:enumeration value="Private"/>
        </xsd:restriction>
      </xsd:simpleType>
    </xsd:element>
    <xsd:element name="Identifier" ma:index="9" nillable="true" ma:displayName="Identifier" ma:description="Enter all EPA identification numbers applicable to this document, one on each line." ma:internalName="Identifier" ma:readOnly="false">
      <xsd:simpleType>
        <xsd:restriction base="dms:Note">
          <xsd:maxLength value="255"/>
        </xsd:restriction>
      </xsd:simpleType>
    </xsd:element>
    <xsd:element name="EPA_x0020_Contributor" ma:index="11" nillable="true" ma:displayName="EPA Contributor" ma:description="Enter an EPA person who contributed to the creation of the document but is not the primary author." ma:list="UserInfo" ma:SharePointGroup="0" ma:internalName="EPA_x0020_Contributor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Contributor" ma:index="12" nillable="true" ma:displayName="External Contributor" ma:description="Enter a non-EPA person who contributed to the creation of the document but is not the primary author." ma:internalName="External_x0020_Contributor" ma:readOnly="false">
      <xsd:simpleType>
        <xsd:restriction base="dms:Note">
          <xsd:maxLength value="255"/>
        </xsd:restriction>
      </xsd:simpleType>
    </xsd:element>
    <xsd:element name="EPA_x0020_Related_x0020_Documents" ma:index="14" nillable="true" ma:displayName="Other Related Documents" ma:description="Enter any related document." ma:internalName="EPA_x0020_Related_x0020_Documents" ma:readOnly="false">
      <xsd:simpleType>
        <xsd:restriction base="dms:Note">
          <xsd:maxLength value="255"/>
        </xsd:restriction>
      </xsd:simpleType>
    </xsd:element>
    <xsd:element name="Rights" ma:index="16" nillable="true" ma:displayName="Rights" ma:description="Enter information about intellectual property rights held over the document (e.g. copyright, patent, trademark)." ma:internalName="Rights" ma:readOnly="false">
      <xsd:simpleType>
        <xsd:restriction base="dms:Note">
          <xsd:maxLength value="255"/>
        </xsd:restriction>
      </xsd:simpleType>
    </xsd:element>
    <xsd:element name="j747ac98061d40f0aa7bd47e1db5675d" ma:index="19" nillable="true" ma:taxonomy="true" ma:internalName="j747ac98061d40f0aa7bd47e1db5675d" ma:taxonomyFieldName="Document_x0020_Type" ma:displayName="Document Type" ma:readOnly="false" ma:default="" ma:fieldId="{3747ac98-061d-40f0-aa7b-d47e1db5675d}" ma:sspId="29f62856-1543-49d4-a736-4569d363f533" ma:termSetId="e06cd6a9-a175-4da0-81cb-8dba7aa394a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21" nillable="true" ma:taxonomy="true" ma:internalName="TaxKeywordTaxHTField" ma:taxonomyFieldName="TaxKeyword" ma:displayName="Enterprise Keywords" ma:readOnly="false" ma:fieldId="{23f27201-bee3-471e-b2e7-b64fd8b7ca38}" ma:taxonomyMulti="true" ma:sspId="29f62856-1543-49d4-a736-4569d363f533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Label" ma:index="23" nillable="true" ma:displayName="Taxonomy Catch All Column1" ma:hidden="true" ma:list="{2582a83a-5ba4-475b-879f-7d1d20bd718f}" ma:internalName="TaxCatchAllLabel" ma:readOnly="true" ma:showField="CatchAllDataLabel" ma:web="2755580c-7c5f-43cf-bd85-5c868b71893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4" nillable="true" ma:displayName="Taxonomy Catch All Column" ma:hidden="true" ma:list="{2582a83a-5ba4-475b-879f-7d1d20bd718f}" ma:internalName="TaxCatchAll" ma:showField="CatchAllData" ma:web="2755580c-7c5f-43cf-bd85-5c868b71893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.v3" elementFormDefault="qualified">
    <xsd:import namespace="http://schemas.microsoft.com/office/2006/documentManagement/types"/>
    <xsd:import namespace="http://schemas.microsoft.com/office/infopath/2007/PartnerControls"/>
    <xsd:element name="CategoryDescription" ma:index="6" nillable="true" ma:displayName="Description" ma:description="Enter a brief description." ma:internalName="CategoryDescription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Coverage" ma:index="13" nillable="true" ma:displayName="Coverage" ma:description="Enter the geographic location, jurisdiction, or time period for which the document is relevant." ma:internalName="_Coverage" ma:readOnly="false">
      <xsd:simpleType>
        <xsd:restriction base="dms:Text">
          <xsd:maxLength value="255"/>
        </xsd:restriction>
      </xsd:simpleType>
    </xsd:element>
    <xsd:element name="_Source" ma:index="15" nillable="true" ma:displayName="Source" ma:description="Enter a source from which the document is derived." ma:internalName="_Source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00cabe-74f9-499f-ba26-1e0076cbc6c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33" nillable="true" ma:taxonomy="true" ma:internalName="lcf76f155ced4ddcb4097134ff3c332f" ma:taxonomyFieldName="MediaServiceImageTags" ma:displayName="Image Tags" ma:readOnly="false" ma:fieldId="{5cf76f15-5ced-4ddc-b409-7134ff3c332f}" ma:taxonomyMulti="true" ma:sspId="29f62856-1543-49d4-a736-4569d363f53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3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3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55580c-7c5f-43cf-bd85-5c868b718937" elementFormDefault="qualified">
    <xsd:import namespace="http://schemas.microsoft.com/office/2006/documentManagement/types"/>
    <xsd:import namespace="http://schemas.microsoft.com/office/infopath/2007/PartnerControls"/>
    <xsd:element name="SharedWithUsers" ma:index="3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5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DAE0920-49C0-4BEB-8059-D7BF55C35AD5}">
  <ds:schemaRefs>
    <ds:schemaRef ds:uri="ESRI.ArcGIS.Mapping.OfficeIntegration.PowerPointInfo"/>
  </ds:schemaRefs>
</ds:datastoreItem>
</file>

<file path=customXml/itemProps2.xml><?xml version="1.0" encoding="utf-8"?>
<ds:datastoreItem xmlns:ds="http://schemas.openxmlformats.org/officeDocument/2006/customXml" ds:itemID="{67C28B64-DDA6-4450-ABA1-2CC1322C280C}">
  <ds:schemaRefs>
    <ds:schemaRef ds:uri="http://purl.org/dc/dcmitype/"/>
    <ds:schemaRef ds:uri="http://purl.org/dc/terms/"/>
    <ds:schemaRef ds:uri="http://schemas.microsoft.com/sharepoint.v3"/>
    <ds:schemaRef ds:uri="4ffa91fb-a0ff-4ac5-b2db-65c790d184a4"/>
    <ds:schemaRef ds:uri="http://schemas.microsoft.com/office/2006/metadata/properties"/>
    <ds:schemaRef ds:uri="2755580c-7c5f-43cf-bd85-5c868b718937"/>
    <ds:schemaRef ds:uri="http://purl.org/dc/elements/1.1/"/>
    <ds:schemaRef ds:uri="http://schemas.microsoft.com/office/2006/documentManagement/types"/>
    <ds:schemaRef ds:uri="3d00cabe-74f9-499f-ba26-1e0076cbc6cc"/>
    <ds:schemaRef ds:uri="http://schemas.microsoft.com/sharepoint/v3"/>
    <ds:schemaRef ds:uri="http://schemas.microsoft.com/office/infopath/2007/PartnerControls"/>
    <ds:schemaRef ds:uri="http://schemas.openxmlformats.org/package/2006/metadata/core-properties"/>
    <ds:schemaRef ds:uri="http://schemas.microsoft.com/sharepoint/v3/field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A1D0CC7-B208-4979-8588-0D35D9F2F3CC}"/>
</file>

<file path=customXml/itemProps4.xml><?xml version="1.0" encoding="utf-8"?>
<ds:datastoreItem xmlns:ds="http://schemas.openxmlformats.org/officeDocument/2006/customXml" ds:itemID="{CDD5A06C-9CFB-4DBB-94B8-7D27055D3182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6465E589-8745-4CA5-8567-767754160F89}">
  <ds:schemaRefs>
    <ds:schemaRef ds:uri="2755580c-7c5f-43cf-bd85-5c868b718937"/>
    <ds:schemaRef ds:uri="3d00cabe-74f9-499f-ba26-1e0076cbc6cc"/>
    <ds:schemaRef ds:uri="4ffa91fb-a0ff-4ac5-b2db-65c790d184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.v3"/>
    <ds:schemaRef ds:uri="http://schemas.microsoft.com/sharepoint/v3"/>
    <ds:schemaRef ds:uri="http://schemas.microsoft.com/sharepoint/v3/field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7</TotalTime>
  <Words>608</Words>
  <Application>Microsoft Office PowerPoint</Application>
  <PresentationFormat>Widescreen</PresentationFormat>
  <Paragraphs>93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Calibri Light</vt:lpstr>
      <vt:lpstr>Franklin Gothic Book</vt:lpstr>
      <vt:lpstr>Sagona ExtraLight</vt:lpstr>
      <vt:lpstr>1_Office Theme</vt:lpstr>
      <vt:lpstr>2_Office Theme</vt:lpstr>
      <vt:lpstr>think-cell Slide</vt:lpstr>
      <vt:lpstr>EPA’s Climate Pollution Reduction Grants  </vt:lpstr>
      <vt:lpstr>tackling climate and Air pollution from multiple angles</vt:lpstr>
      <vt:lpstr>Climate Pollution Reduction Grant (CPRG) Program</vt:lpstr>
      <vt:lpstr>Planning Grant Allocations</vt:lpstr>
      <vt:lpstr>Notice of Intent to Participate Status</vt:lpstr>
      <vt:lpstr>One planning grant, three deliverables over 4 years</vt:lpstr>
      <vt:lpstr>Intergovernmental and Stakeholder Coordination</vt:lpstr>
      <vt:lpstr>Potential Roles for Universities and Municipalit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PA’s Climate Pollution Reduction Grants: Noncompetitive planning grants for state, territory, local, and tribal governments</dc:title>
  <dc:subject>March Webinar Slides</dc:subject>
  <dc:creator>U.S. Envrionmental Protection Agency</dc:creator>
  <cp:keywords>EPA, grant, climate, pollution, state, territory, local, tribal, government, Climate Pollution Reduction Grants</cp:keywords>
  <cp:lastModifiedBy>Denny, Andrea</cp:lastModifiedBy>
  <cp:revision>7</cp:revision>
  <dcterms:created xsi:type="dcterms:W3CDTF">2019-11-04T14:04:23Z</dcterms:created>
  <dcterms:modified xsi:type="dcterms:W3CDTF">2023-04-10T14:2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126F909E93C945B457D15CD565A65D</vt:lpwstr>
  </property>
  <property fmtid="{D5CDD505-2E9C-101B-9397-08002B2CF9AE}" pid="3" name="TaxKeyword">
    <vt:lpwstr/>
  </property>
  <property fmtid="{D5CDD505-2E9C-101B-9397-08002B2CF9AE}" pid="4" name="MediaServiceImageTags">
    <vt:lpwstr/>
  </property>
  <property fmtid="{D5CDD505-2E9C-101B-9397-08002B2CF9AE}" pid="5" name="e3f09c3df709400db2417a7161762d62">
    <vt:lpwstr/>
  </property>
  <property fmtid="{D5CDD505-2E9C-101B-9397-08002B2CF9AE}" pid="6" name="EPA_x0020_Subject">
    <vt:lpwstr/>
  </property>
  <property fmtid="{D5CDD505-2E9C-101B-9397-08002B2CF9AE}" pid="7" name="Document Type">
    <vt:lpwstr/>
  </property>
  <property fmtid="{D5CDD505-2E9C-101B-9397-08002B2CF9AE}" pid="8" name="EPA Subject">
    <vt:lpwstr/>
  </property>
</Properties>
</file>